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9"/>
  </p:notesMasterIdLst>
  <p:handoutMasterIdLst>
    <p:handoutMasterId r:id="rId20"/>
  </p:handoutMasterIdLst>
  <p:sldIdLst>
    <p:sldId id="2126987319" r:id="rId5"/>
    <p:sldId id="2126987320" r:id="rId6"/>
    <p:sldId id="2126987335" r:id="rId7"/>
    <p:sldId id="2126987322" r:id="rId8"/>
    <p:sldId id="2126987321" r:id="rId9"/>
    <p:sldId id="2126987329" r:id="rId10"/>
    <p:sldId id="2126987330" r:id="rId11"/>
    <p:sldId id="2126987331" r:id="rId12"/>
    <p:sldId id="2126987332" r:id="rId13"/>
    <p:sldId id="2126987333" r:id="rId14"/>
    <p:sldId id="2126987334" r:id="rId15"/>
    <p:sldId id="2126987326" r:id="rId16"/>
    <p:sldId id="2126987325" r:id="rId17"/>
    <p:sldId id="2126987327" r:id="rId1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lk" id="{8A7D66D2-85D0-4798-998D-4A93E908536C}">
          <p14:sldIdLst>
            <p14:sldId id="2126987319"/>
            <p14:sldId id="2126987320"/>
            <p14:sldId id="2126987335"/>
            <p14:sldId id="2126987322"/>
            <p14:sldId id="2126987321"/>
            <p14:sldId id="2126987329"/>
            <p14:sldId id="2126987330"/>
            <p14:sldId id="2126987331"/>
            <p14:sldId id="2126987332"/>
            <p14:sldId id="2126987333"/>
            <p14:sldId id="2126987334"/>
            <p14:sldId id="2126987326"/>
            <p14:sldId id="2126987325"/>
            <p14:sldId id="21269873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5AA29-C0C7-8058-B5C0-1989C7CE5130}" name="Brox, Sigrun" initials="BS" userId="S::sigrun.brox@accso.de::061b5976-ec37-4326-ba6e-da89554d33f0" providerId="AD"/>
  <p188:author id="{075E8D68-A2F4-AF22-BEBB-21C03942976F}" name="Kraus, Florian" initials="KF" userId="S::florian.kraus@accso.de::c4d1760f-aff3-423e-97cb-ae5b4ddf6347" providerId="AD"/>
  <p188:author id="{B43BF19C-78D8-A801-7C80-2EBE40384C4B}" name="Thompson, Neil" initials="NT" userId="S::neil.thompson@accso.de::666b3560-10c6-47c6-810b-0f5c9f3d87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FFB1"/>
    <a:srgbClr val="2DFA87"/>
    <a:srgbClr val="003C3C"/>
    <a:srgbClr val="123C3B"/>
    <a:srgbClr val="DB41D0"/>
    <a:srgbClr val="47FB96"/>
    <a:srgbClr val="FF8228"/>
    <a:srgbClr val="7878FA"/>
    <a:srgbClr val="00CB75"/>
    <a:srgbClr val="1849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F2CE2F-51CF-49C4-8166-5295EBE78925}" v="497" dt="2024-11-15T19:06:08.211"/>
  </p1510:revLst>
</p1510:revInfo>
</file>

<file path=ppt/tableStyles.xml><?xml version="1.0" encoding="utf-8"?>
<a:tblStyleLst xmlns:a="http://schemas.openxmlformats.org/drawingml/2006/main" def="{5C22544A-7EE6-4342-B048-85BDC9FD1C3A}">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7651" autoAdjust="0"/>
  </p:normalViewPr>
  <p:slideViewPr>
    <p:cSldViewPr snapToObjects="1">
      <p:cViewPr varScale="1">
        <p:scale>
          <a:sx n="87" d="100"/>
          <a:sy n="87" d="100"/>
        </p:scale>
        <p:origin x="696" y="96"/>
      </p:cViewPr>
      <p:guideLst/>
    </p:cSldViewPr>
  </p:slideViewPr>
  <p:outlineViewPr>
    <p:cViewPr>
      <p:scale>
        <a:sx n="33" d="100"/>
        <a:sy n="33" d="100"/>
      </p:scale>
      <p:origin x="0" y="-71816"/>
    </p:cViewPr>
  </p:outlineViewPr>
  <p:notesTextViewPr>
    <p:cViewPr>
      <p:scale>
        <a:sx n="3" d="2"/>
        <a:sy n="3" d="2"/>
      </p:scale>
      <p:origin x="0" y="0"/>
    </p:cViewPr>
  </p:notesTextViewPr>
  <p:sorterViewPr>
    <p:cViewPr varScale="1">
      <p:scale>
        <a:sx n="20" d="100"/>
        <a:sy n="20" d="100"/>
      </p:scale>
      <p:origin x="0" y="-21972"/>
    </p:cViewPr>
  </p:sorterViewPr>
  <p:notesViewPr>
    <p:cSldViewPr snapToObjects="1" showGuides="1">
      <p:cViewPr>
        <p:scale>
          <a:sx n="71" d="100"/>
          <a:sy n="71" d="100"/>
        </p:scale>
        <p:origin x="4688" y="12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pson, Neil" userId="666b3560-10c6-47c6-810b-0f5c9f3d8792" providerId="ADAL" clId="{97F2CE2F-51CF-49C4-8166-5295EBE78925}"/>
    <pc:docChg chg="undo redo custSel addSld delSld modSld sldOrd addSection delSection modSection">
      <pc:chgData name="Thompson, Neil" userId="666b3560-10c6-47c6-810b-0f5c9f3d8792" providerId="ADAL" clId="{97F2CE2F-51CF-49C4-8166-5295EBE78925}" dt="2024-11-29T18:55:17.709" v="3084"/>
      <pc:docMkLst>
        <pc:docMk/>
      </pc:docMkLst>
      <pc:sldChg chg="del">
        <pc:chgData name="Thompson, Neil" userId="666b3560-10c6-47c6-810b-0f5c9f3d8792" providerId="ADAL" clId="{97F2CE2F-51CF-49C4-8166-5295EBE78925}" dt="2024-11-11T20:30:23.399" v="3016" actId="47"/>
        <pc:sldMkLst>
          <pc:docMk/>
          <pc:sldMk cId="941187759" sldId="258"/>
        </pc:sldMkLst>
      </pc:sldChg>
      <pc:sldChg chg="modSp del mod">
        <pc:chgData name="Thompson, Neil" userId="666b3560-10c6-47c6-810b-0f5c9f3d8792" providerId="ADAL" clId="{97F2CE2F-51CF-49C4-8166-5295EBE78925}" dt="2024-11-11T20:30:23.399" v="3016" actId="47"/>
        <pc:sldMkLst>
          <pc:docMk/>
          <pc:sldMk cId="546530417" sldId="261"/>
        </pc:sldMkLst>
        <pc:spChg chg="mod">
          <ac:chgData name="Thompson, Neil" userId="666b3560-10c6-47c6-810b-0f5c9f3d8792" providerId="ADAL" clId="{97F2CE2F-51CF-49C4-8166-5295EBE78925}" dt="2024-11-03T19:33:12.359" v="1459"/>
          <ac:spMkLst>
            <pc:docMk/>
            <pc:sldMk cId="546530417" sldId="261"/>
            <ac:spMk id="2" creationId="{A79D7DBF-2847-47C7-81B9-D3EDAEBA6D0F}"/>
          </ac:spMkLst>
        </pc:spChg>
        <pc:spChg chg="mod">
          <ac:chgData name="Thompson, Neil" userId="666b3560-10c6-47c6-810b-0f5c9f3d8792" providerId="ADAL" clId="{97F2CE2F-51CF-49C4-8166-5295EBE78925}" dt="2024-11-03T18:08:05.206" v="617" actId="207"/>
          <ac:spMkLst>
            <pc:docMk/>
            <pc:sldMk cId="546530417" sldId="261"/>
            <ac:spMk id="6" creationId="{43B779AB-1751-AE4C-6E60-F5A7D3CF3EA3}"/>
          </ac:spMkLst>
        </pc:spChg>
      </pc:sldChg>
      <pc:sldChg chg="del">
        <pc:chgData name="Thompson, Neil" userId="666b3560-10c6-47c6-810b-0f5c9f3d8792" providerId="ADAL" clId="{97F2CE2F-51CF-49C4-8166-5295EBE78925}" dt="2024-11-03T19:32:26.323" v="1453" actId="47"/>
        <pc:sldMkLst>
          <pc:docMk/>
          <pc:sldMk cId="3890369847" sldId="538"/>
        </pc:sldMkLst>
      </pc:sldChg>
      <pc:sldChg chg="del">
        <pc:chgData name="Thompson, Neil" userId="666b3560-10c6-47c6-810b-0f5c9f3d8792" providerId="ADAL" clId="{97F2CE2F-51CF-49C4-8166-5295EBE78925}" dt="2024-11-03T19:32:20.931" v="1449" actId="47"/>
        <pc:sldMkLst>
          <pc:docMk/>
          <pc:sldMk cId="1111729633" sldId="918"/>
        </pc:sldMkLst>
      </pc:sldChg>
      <pc:sldChg chg="del">
        <pc:chgData name="Thompson, Neil" userId="666b3560-10c6-47c6-810b-0f5c9f3d8792" providerId="ADAL" clId="{97F2CE2F-51CF-49C4-8166-5295EBE78925}" dt="2024-11-03T19:32:22.269" v="1450" actId="47"/>
        <pc:sldMkLst>
          <pc:docMk/>
          <pc:sldMk cId="29047613" sldId="929"/>
        </pc:sldMkLst>
      </pc:sldChg>
      <pc:sldChg chg="del">
        <pc:chgData name="Thompson, Neil" userId="666b3560-10c6-47c6-810b-0f5c9f3d8792" providerId="ADAL" clId="{97F2CE2F-51CF-49C4-8166-5295EBE78925}" dt="2024-11-03T19:32:22.269" v="1450" actId="47"/>
        <pc:sldMkLst>
          <pc:docMk/>
          <pc:sldMk cId="1642583969" sldId="930"/>
        </pc:sldMkLst>
      </pc:sldChg>
      <pc:sldChg chg="del">
        <pc:chgData name="Thompson, Neil" userId="666b3560-10c6-47c6-810b-0f5c9f3d8792" providerId="ADAL" clId="{97F2CE2F-51CF-49C4-8166-5295EBE78925}" dt="2024-11-03T19:32:18.264" v="1447" actId="47"/>
        <pc:sldMkLst>
          <pc:docMk/>
          <pc:sldMk cId="1495652954" sldId="937"/>
        </pc:sldMkLst>
      </pc:sldChg>
      <pc:sldChg chg="del">
        <pc:chgData name="Thompson, Neil" userId="666b3560-10c6-47c6-810b-0f5c9f3d8792" providerId="ADAL" clId="{97F2CE2F-51CF-49C4-8166-5295EBE78925}" dt="2024-11-03T19:32:18.264" v="1447" actId="47"/>
        <pc:sldMkLst>
          <pc:docMk/>
          <pc:sldMk cId="1989584120" sldId="938"/>
        </pc:sldMkLst>
      </pc:sldChg>
      <pc:sldChg chg="del">
        <pc:chgData name="Thompson, Neil" userId="666b3560-10c6-47c6-810b-0f5c9f3d8792" providerId="ADAL" clId="{97F2CE2F-51CF-49C4-8166-5295EBE78925}" dt="2024-11-03T19:32:18.264" v="1447" actId="47"/>
        <pc:sldMkLst>
          <pc:docMk/>
          <pc:sldMk cId="17080705" sldId="939"/>
        </pc:sldMkLst>
      </pc:sldChg>
      <pc:sldChg chg="del">
        <pc:chgData name="Thompson, Neil" userId="666b3560-10c6-47c6-810b-0f5c9f3d8792" providerId="ADAL" clId="{97F2CE2F-51CF-49C4-8166-5295EBE78925}" dt="2024-11-03T19:32:18.264" v="1447" actId="47"/>
        <pc:sldMkLst>
          <pc:docMk/>
          <pc:sldMk cId="1513062442" sldId="946"/>
        </pc:sldMkLst>
      </pc:sldChg>
      <pc:sldChg chg="del">
        <pc:chgData name="Thompson, Neil" userId="666b3560-10c6-47c6-810b-0f5c9f3d8792" providerId="ADAL" clId="{97F2CE2F-51CF-49C4-8166-5295EBE78925}" dt="2024-11-03T19:32:20.931" v="1449" actId="47"/>
        <pc:sldMkLst>
          <pc:docMk/>
          <pc:sldMk cId="312645845" sldId="948"/>
        </pc:sldMkLst>
      </pc:sldChg>
      <pc:sldChg chg="del">
        <pc:chgData name="Thompson, Neil" userId="666b3560-10c6-47c6-810b-0f5c9f3d8792" providerId="ADAL" clId="{97F2CE2F-51CF-49C4-8166-5295EBE78925}" dt="2024-11-03T19:32:20.931" v="1449" actId="47"/>
        <pc:sldMkLst>
          <pc:docMk/>
          <pc:sldMk cId="1328793787" sldId="949"/>
        </pc:sldMkLst>
      </pc:sldChg>
      <pc:sldChg chg="del">
        <pc:chgData name="Thompson, Neil" userId="666b3560-10c6-47c6-810b-0f5c9f3d8792" providerId="ADAL" clId="{97F2CE2F-51CF-49C4-8166-5295EBE78925}" dt="2024-11-03T19:32:19.684" v="1448" actId="47"/>
        <pc:sldMkLst>
          <pc:docMk/>
          <pc:sldMk cId="3227345750" sldId="2126987166"/>
        </pc:sldMkLst>
      </pc:sldChg>
      <pc:sldChg chg="del">
        <pc:chgData name="Thompson, Neil" userId="666b3560-10c6-47c6-810b-0f5c9f3d8792" providerId="ADAL" clId="{97F2CE2F-51CF-49C4-8166-5295EBE78925}" dt="2024-11-03T19:32:19.684" v="1448" actId="47"/>
        <pc:sldMkLst>
          <pc:docMk/>
          <pc:sldMk cId="1961683093" sldId="2126987167"/>
        </pc:sldMkLst>
      </pc:sldChg>
      <pc:sldChg chg="del">
        <pc:chgData name="Thompson, Neil" userId="666b3560-10c6-47c6-810b-0f5c9f3d8792" providerId="ADAL" clId="{97F2CE2F-51CF-49C4-8166-5295EBE78925}" dt="2024-11-03T19:32:19.684" v="1448" actId="47"/>
        <pc:sldMkLst>
          <pc:docMk/>
          <pc:sldMk cId="2343184863" sldId="2126987168"/>
        </pc:sldMkLst>
      </pc:sldChg>
      <pc:sldChg chg="addSp modSp del mod ord chgLayout">
        <pc:chgData name="Thompson, Neil" userId="666b3560-10c6-47c6-810b-0f5c9f3d8792" providerId="ADAL" clId="{97F2CE2F-51CF-49C4-8166-5295EBE78925}" dt="2024-11-03T18:40:41.374" v="807" actId="2696"/>
        <pc:sldMkLst>
          <pc:docMk/>
          <pc:sldMk cId="2896977088" sldId="2126987169"/>
        </pc:sldMkLst>
        <pc:spChg chg="mod ord">
          <ac:chgData name="Thompson, Neil" userId="666b3560-10c6-47c6-810b-0f5c9f3d8792" providerId="ADAL" clId="{97F2CE2F-51CF-49C4-8166-5295EBE78925}" dt="2024-11-03T18:40:36.295" v="805"/>
          <ac:spMkLst>
            <pc:docMk/>
            <pc:sldMk cId="2896977088" sldId="2126987169"/>
            <ac:spMk id="2" creationId="{A72C28F4-DA31-FA70-00BD-A7DB373B34AF}"/>
          </ac:spMkLst>
        </pc:spChg>
        <pc:spChg chg="mod ord">
          <ac:chgData name="Thompson, Neil" userId="666b3560-10c6-47c6-810b-0f5c9f3d8792" providerId="ADAL" clId="{97F2CE2F-51CF-49C4-8166-5295EBE78925}" dt="2024-11-03T18:40:35.310" v="800" actId="700"/>
          <ac:spMkLst>
            <pc:docMk/>
            <pc:sldMk cId="2896977088" sldId="2126987169"/>
            <ac:spMk id="3" creationId="{1B6482E2-3442-12AA-99E9-46B9F388254D}"/>
          </ac:spMkLst>
        </pc:spChg>
        <pc:spChg chg="add mod">
          <ac:chgData name="Thompson, Neil" userId="666b3560-10c6-47c6-810b-0f5c9f3d8792" providerId="ADAL" clId="{97F2CE2F-51CF-49C4-8166-5295EBE78925}" dt="2024-11-03T18:40:35.074" v="799"/>
          <ac:spMkLst>
            <pc:docMk/>
            <pc:sldMk cId="2896977088" sldId="2126987169"/>
            <ac:spMk id="4" creationId="{2F688A8C-9488-B964-2057-18B096F81F16}"/>
          </ac:spMkLst>
        </pc:spChg>
        <pc:spChg chg="mod ord">
          <ac:chgData name="Thompson, Neil" userId="666b3560-10c6-47c6-810b-0f5c9f3d8792" providerId="ADAL" clId="{97F2CE2F-51CF-49C4-8166-5295EBE78925}" dt="2024-11-03T18:40:35.310" v="800" actId="700"/>
          <ac:spMkLst>
            <pc:docMk/>
            <pc:sldMk cId="2896977088" sldId="2126987169"/>
            <ac:spMk id="5" creationId="{CA6C4FBC-2DE7-1C74-A0F8-C1F9EFBF0981}"/>
          </ac:spMkLst>
        </pc:spChg>
        <pc:spChg chg="mod ord">
          <ac:chgData name="Thompson, Neil" userId="666b3560-10c6-47c6-810b-0f5c9f3d8792" providerId="ADAL" clId="{97F2CE2F-51CF-49C4-8166-5295EBE78925}" dt="2024-11-03T18:40:35.310" v="800" actId="700"/>
          <ac:spMkLst>
            <pc:docMk/>
            <pc:sldMk cId="2896977088" sldId="2126987169"/>
            <ac:spMk id="6" creationId="{AF409DC3-FB05-ACFD-6ED9-0AA4809F6C7C}"/>
          </ac:spMkLst>
        </pc:spChg>
        <pc:spChg chg="mod ord">
          <ac:chgData name="Thompson, Neil" userId="666b3560-10c6-47c6-810b-0f5c9f3d8792" providerId="ADAL" clId="{97F2CE2F-51CF-49C4-8166-5295EBE78925}" dt="2024-11-03T18:40:35.310" v="800" actId="700"/>
          <ac:spMkLst>
            <pc:docMk/>
            <pc:sldMk cId="2896977088" sldId="2126987169"/>
            <ac:spMk id="7" creationId="{34E7EE40-690E-087E-0A0F-54024AB0C480}"/>
          </ac:spMkLst>
        </pc:spChg>
        <pc:spChg chg="mod ord">
          <ac:chgData name="Thompson, Neil" userId="666b3560-10c6-47c6-810b-0f5c9f3d8792" providerId="ADAL" clId="{97F2CE2F-51CF-49C4-8166-5295EBE78925}" dt="2024-11-03T18:40:35.310" v="800" actId="700"/>
          <ac:spMkLst>
            <pc:docMk/>
            <pc:sldMk cId="2896977088" sldId="2126987169"/>
            <ac:spMk id="8" creationId="{2EB2FA29-32C3-B114-0485-C35E93286920}"/>
          </ac:spMkLst>
        </pc:spChg>
        <pc:spChg chg="mod ord">
          <ac:chgData name="Thompson, Neil" userId="666b3560-10c6-47c6-810b-0f5c9f3d8792" providerId="ADAL" clId="{97F2CE2F-51CF-49C4-8166-5295EBE78925}" dt="2024-11-03T18:40:36.504" v="806"/>
          <ac:spMkLst>
            <pc:docMk/>
            <pc:sldMk cId="2896977088" sldId="2126987169"/>
            <ac:spMk id="9" creationId="{91396F67-4B70-0F07-5F78-D8C996CF7CA6}"/>
          </ac:spMkLst>
        </pc:spChg>
        <pc:spChg chg="mod ord">
          <ac:chgData name="Thompson, Neil" userId="666b3560-10c6-47c6-810b-0f5c9f3d8792" providerId="ADAL" clId="{97F2CE2F-51CF-49C4-8166-5295EBE78925}" dt="2024-11-03T18:40:36.079" v="804"/>
          <ac:spMkLst>
            <pc:docMk/>
            <pc:sldMk cId="2896977088" sldId="2126987169"/>
            <ac:spMk id="11" creationId="{77536D9A-6FBD-7668-B083-2170E17E9273}"/>
          </ac:spMkLst>
        </pc:spChg>
        <pc:spChg chg="mod ord">
          <ac:chgData name="Thompson, Neil" userId="666b3560-10c6-47c6-810b-0f5c9f3d8792" providerId="ADAL" clId="{97F2CE2F-51CF-49C4-8166-5295EBE78925}" dt="2024-11-03T18:40:35.891" v="803"/>
          <ac:spMkLst>
            <pc:docMk/>
            <pc:sldMk cId="2896977088" sldId="2126987169"/>
            <ac:spMk id="12" creationId="{27679E76-EC3D-538E-5AE7-0BAEF1B481F3}"/>
          </ac:spMkLst>
        </pc:spChg>
        <pc:spChg chg="mod ord">
          <ac:chgData name="Thompson, Neil" userId="666b3560-10c6-47c6-810b-0f5c9f3d8792" providerId="ADAL" clId="{97F2CE2F-51CF-49C4-8166-5295EBE78925}" dt="2024-11-03T18:40:35.514" v="801"/>
          <ac:spMkLst>
            <pc:docMk/>
            <pc:sldMk cId="2896977088" sldId="2126987169"/>
            <ac:spMk id="13" creationId="{821A7415-FC47-4A22-D30C-796853CFF815}"/>
          </ac:spMkLst>
        </pc:spChg>
        <pc:spChg chg="mod ord">
          <ac:chgData name="Thompson, Neil" userId="666b3560-10c6-47c6-810b-0f5c9f3d8792" providerId="ADAL" clId="{97F2CE2F-51CF-49C4-8166-5295EBE78925}" dt="2024-11-03T18:40:35.702" v="802"/>
          <ac:spMkLst>
            <pc:docMk/>
            <pc:sldMk cId="2896977088" sldId="2126987169"/>
            <ac:spMk id="14" creationId="{CD14604D-AD20-96D8-C0C9-46EA621E1808}"/>
          </ac:spMkLst>
        </pc:spChg>
        <pc:spChg chg="mod ord">
          <ac:chgData name="Thompson, Neil" userId="666b3560-10c6-47c6-810b-0f5c9f3d8792" providerId="ADAL" clId="{97F2CE2F-51CF-49C4-8166-5295EBE78925}" dt="2024-11-03T18:40:35.310" v="800" actId="700"/>
          <ac:spMkLst>
            <pc:docMk/>
            <pc:sldMk cId="2896977088" sldId="2126987169"/>
            <ac:spMk id="15" creationId="{722E050B-CD8D-B343-DDBF-89CB99C34711}"/>
          </ac:spMkLst>
        </pc:spChg>
      </pc:sldChg>
      <pc:sldChg chg="del">
        <pc:chgData name="Thompson, Neil" userId="666b3560-10c6-47c6-810b-0f5c9f3d8792" providerId="ADAL" clId="{97F2CE2F-51CF-49C4-8166-5295EBE78925}" dt="2024-11-03T19:32:19.684" v="1448" actId="47"/>
        <pc:sldMkLst>
          <pc:docMk/>
          <pc:sldMk cId="3246821851" sldId="2126987170"/>
        </pc:sldMkLst>
      </pc:sldChg>
      <pc:sldChg chg="del ord">
        <pc:chgData name="Thompson, Neil" userId="666b3560-10c6-47c6-810b-0f5c9f3d8792" providerId="ADAL" clId="{97F2CE2F-51CF-49C4-8166-5295EBE78925}" dt="2024-11-03T19:32:19.684" v="1448" actId="47"/>
        <pc:sldMkLst>
          <pc:docMk/>
          <pc:sldMk cId="2676657915" sldId="2126987171"/>
        </pc:sldMkLst>
      </pc:sldChg>
      <pc:sldChg chg="del">
        <pc:chgData name="Thompson, Neil" userId="666b3560-10c6-47c6-810b-0f5c9f3d8792" providerId="ADAL" clId="{97F2CE2F-51CF-49C4-8166-5295EBE78925}" dt="2024-11-03T19:32:19.684" v="1448" actId="47"/>
        <pc:sldMkLst>
          <pc:docMk/>
          <pc:sldMk cId="4268484758" sldId="2126987183"/>
        </pc:sldMkLst>
      </pc:sldChg>
      <pc:sldChg chg="addSp delSp modSp del mod ord">
        <pc:chgData name="Thompson, Neil" userId="666b3560-10c6-47c6-810b-0f5c9f3d8792" providerId="ADAL" clId="{97F2CE2F-51CF-49C4-8166-5295EBE78925}" dt="2024-11-11T20:30:23.399" v="3016" actId="47"/>
        <pc:sldMkLst>
          <pc:docMk/>
          <pc:sldMk cId="2969883368" sldId="2126987184"/>
        </pc:sldMkLst>
        <pc:spChg chg="mod">
          <ac:chgData name="Thompson, Neil" userId="666b3560-10c6-47c6-810b-0f5c9f3d8792" providerId="ADAL" clId="{97F2CE2F-51CF-49C4-8166-5295EBE78925}" dt="2024-11-03T19:22:46.455" v="1381" actId="5793"/>
          <ac:spMkLst>
            <pc:docMk/>
            <pc:sldMk cId="2969883368" sldId="2126987184"/>
            <ac:spMk id="3" creationId="{C2B4602D-A470-AB81-5998-F974C9113F6A}"/>
          </ac:spMkLst>
        </pc:spChg>
        <pc:spChg chg="mod">
          <ac:chgData name="Thompson, Neil" userId="666b3560-10c6-47c6-810b-0f5c9f3d8792" providerId="ADAL" clId="{97F2CE2F-51CF-49C4-8166-5295EBE78925}" dt="2024-11-03T19:22:40.268" v="1379" actId="1076"/>
          <ac:spMkLst>
            <pc:docMk/>
            <pc:sldMk cId="2969883368" sldId="2126987184"/>
            <ac:spMk id="4" creationId="{CD33D70B-885F-2A47-97E4-E2707AF7E28C}"/>
          </ac:spMkLst>
        </pc:spChg>
        <pc:spChg chg="mod">
          <ac:chgData name="Thompson, Neil" userId="666b3560-10c6-47c6-810b-0f5c9f3d8792" providerId="ADAL" clId="{97F2CE2F-51CF-49C4-8166-5295EBE78925}" dt="2024-11-03T19:22:40.268" v="1379" actId="1076"/>
          <ac:spMkLst>
            <pc:docMk/>
            <pc:sldMk cId="2969883368" sldId="2126987184"/>
            <ac:spMk id="5" creationId="{CE78C6B1-4841-54BE-1AFA-F9E1BFADFDF7}"/>
          </ac:spMkLst>
        </pc:spChg>
        <pc:spChg chg="mod">
          <ac:chgData name="Thompson, Neil" userId="666b3560-10c6-47c6-810b-0f5c9f3d8792" providerId="ADAL" clId="{97F2CE2F-51CF-49C4-8166-5295EBE78925}" dt="2024-11-03T19:22:40.268" v="1379" actId="1076"/>
          <ac:spMkLst>
            <pc:docMk/>
            <pc:sldMk cId="2969883368" sldId="2126987184"/>
            <ac:spMk id="6" creationId="{5BE20250-4887-90D0-98D5-50C6590B1A8D}"/>
          </ac:spMkLst>
        </pc:spChg>
        <pc:spChg chg="mod">
          <ac:chgData name="Thompson, Neil" userId="666b3560-10c6-47c6-810b-0f5c9f3d8792" providerId="ADAL" clId="{97F2CE2F-51CF-49C4-8166-5295EBE78925}" dt="2024-11-03T19:22:40.268" v="1379" actId="1076"/>
          <ac:spMkLst>
            <pc:docMk/>
            <pc:sldMk cId="2969883368" sldId="2126987184"/>
            <ac:spMk id="7" creationId="{3D4E689A-05B8-2537-DB6A-78CBD6D1A9B7}"/>
          </ac:spMkLst>
        </pc:spChg>
        <pc:spChg chg="mod">
          <ac:chgData name="Thompson, Neil" userId="666b3560-10c6-47c6-810b-0f5c9f3d8792" providerId="ADAL" clId="{97F2CE2F-51CF-49C4-8166-5295EBE78925}" dt="2024-11-03T19:22:40.268" v="1379" actId="1076"/>
          <ac:spMkLst>
            <pc:docMk/>
            <pc:sldMk cId="2969883368" sldId="2126987184"/>
            <ac:spMk id="8" creationId="{A09CB48D-EBAF-9037-09F7-81FCB65A3716}"/>
          </ac:spMkLst>
        </pc:spChg>
        <pc:spChg chg="mod">
          <ac:chgData name="Thompson, Neil" userId="666b3560-10c6-47c6-810b-0f5c9f3d8792" providerId="ADAL" clId="{97F2CE2F-51CF-49C4-8166-5295EBE78925}" dt="2024-11-03T19:23:45.857" v="1410" actId="20577"/>
          <ac:spMkLst>
            <pc:docMk/>
            <pc:sldMk cId="2969883368" sldId="2126987184"/>
            <ac:spMk id="9" creationId="{F156C201-4933-DDBE-5BBE-4764A1AC263E}"/>
          </ac:spMkLst>
        </pc:spChg>
        <pc:spChg chg="del mod">
          <ac:chgData name="Thompson, Neil" userId="666b3560-10c6-47c6-810b-0f5c9f3d8792" providerId="ADAL" clId="{97F2CE2F-51CF-49C4-8166-5295EBE78925}" dt="2024-11-03T19:22:42.498" v="1380" actId="478"/>
          <ac:spMkLst>
            <pc:docMk/>
            <pc:sldMk cId="2969883368" sldId="2126987184"/>
            <ac:spMk id="10" creationId="{FD1189A5-D5FE-C4F9-650B-F61CD7D3218D}"/>
          </ac:spMkLst>
        </pc:spChg>
        <pc:spChg chg="del mod">
          <ac:chgData name="Thompson, Neil" userId="666b3560-10c6-47c6-810b-0f5c9f3d8792" providerId="ADAL" clId="{97F2CE2F-51CF-49C4-8166-5295EBE78925}" dt="2024-11-03T19:23:19.038" v="1393" actId="478"/>
          <ac:spMkLst>
            <pc:docMk/>
            <pc:sldMk cId="2969883368" sldId="2126987184"/>
            <ac:spMk id="11" creationId="{05CBE17A-F2A3-DD64-48F6-44C5B44F5DB3}"/>
          </ac:spMkLst>
        </pc:spChg>
        <pc:spChg chg="mod">
          <ac:chgData name="Thompson, Neil" userId="666b3560-10c6-47c6-810b-0f5c9f3d8792" providerId="ADAL" clId="{97F2CE2F-51CF-49C4-8166-5295EBE78925}" dt="2024-11-03T19:22:40.268" v="1379" actId="1076"/>
          <ac:spMkLst>
            <pc:docMk/>
            <pc:sldMk cId="2969883368" sldId="2126987184"/>
            <ac:spMk id="12" creationId="{EF95F305-63BA-9F27-49C0-479E92E56B81}"/>
          </ac:spMkLst>
        </pc:spChg>
        <pc:spChg chg="add del">
          <ac:chgData name="Thompson, Neil" userId="666b3560-10c6-47c6-810b-0f5c9f3d8792" providerId="ADAL" clId="{97F2CE2F-51CF-49C4-8166-5295EBE78925}" dt="2024-11-03T19:17:13.303" v="1235" actId="22"/>
          <ac:spMkLst>
            <pc:docMk/>
            <pc:sldMk cId="2969883368" sldId="2126987184"/>
            <ac:spMk id="13" creationId="{F4F0AEF4-6FFF-E29C-E430-4E4159703941}"/>
          </ac:spMkLst>
        </pc:spChg>
        <pc:spChg chg="add">
          <ac:chgData name="Thompson, Neil" userId="666b3560-10c6-47c6-810b-0f5c9f3d8792" providerId="ADAL" clId="{97F2CE2F-51CF-49C4-8166-5295EBE78925}" dt="2024-11-03T19:17:20.841" v="1238"/>
          <ac:spMkLst>
            <pc:docMk/>
            <pc:sldMk cId="2969883368" sldId="2126987184"/>
            <ac:spMk id="14" creationId="{3DF678C4-D01B-0DAD-33F7-26535AEAB868}"/>
          </ac:spMkLst>
        </pc:spChg>
        <pc:spChg chg="add mod">
          <ac:chgData name="Thompson, Neil" userId="666b3560-10c6-47c6-810b-0f5c9f3d8792" providerId="ADAL" clId="{97F2CE2F-51CF-49C4-8166-5295EBE78925}" dt="2024-11-03T19:26:02.384" v="1413" actId="1076"/>
          <ac:spMkLst>
            <pc:docMk/>
            <pc:sldMk cId="2969883368" sldId="2126987184"/>
            <ac:spMk id="16" creationId="{102EADE8-5412-32BE-8896-F0323FB96358}"/>
          </ac:spMkLst>
        </pc:spChg>
      </pc:sldChg>
      <pc:sldChg chg="del">
        <pc:chgData name="Thompson, Neil" userId="666b3560-10c6-47c6-810b-0f5c9f3d8792" providerId="ADAL" clId="{97F2CE2F-51CF-49C4-8166-5295EBE78925}" dt="2024-11-03T19:32:26.323" v="1453" actId="47"/>
        <pc:sldMkLst>
          <pc:docMk/>
          <pc:sldMk cId="1718400741" sldId="2126987206"/>
        </pc:sldMkLst>
      </pc:sldChg>
      <pc:sldChg chg="del">
        <pc:chgData name="Thompson, Neil" userId="666b3560-10c6-47c6-810b-0f5c9f3d8792" providerId="ADAL" clId="{97F2CE2F-51CF-49C4-8166-5295EBE78925}" dt="2024-11-03T19:32:13.908" v="1445" actId="47"/>
        <pc:sldMkLst>
          <pc:docMk/>
          <pc:sldMk cId="3944589088" sldId="2126987217"/>
        </pc:sldMkLst>
      </pc:sldChg>
      <pc:sldChg chg="del">
        <pc:chgData name="Thompson, Neil" userId="666b3560-10c6-47c6-810b-0f5c9f3d8792" providerId="ADAL" clId="{97F2CE2F-51CF-49C4-8166-5295EBE78925}" dt="2024-11-03T19:32:13.908" v="1445" actId="47"/>
        <pc:sldMkLst>
          <pc:docMk/>
          <pc:sldMk cId="2601154525" sldId="2126987218"/>
        </pc:sldMkLst>
      </pc:sldChg>
      <pc:sldChg chg="del">
        <pc:chgData name="Thompson, Neil" userId="666b3560-10c6-47c6-810b-0f5c9f3d8792" providerId="ADAL" clId="{97F2CE2F-51CF-49C4-8166-5295EBE78925}" dt="2024-11-03T19:32:13.908" v="1445" actId="47"/>
        <pc:sldMkLst>
          <pc:docMk/>
          <pc:sldMk cId="1439054260" sldId="2126987219"/>
        </pc:sldMkLst>
      </pc:sldChg>
      <pc:sldChg chg="del">
        <pc:chgData name="Thompson, Neil" userId="666b3560-10c6-47c6-810b-0f5c9f3d8792" providerId="ADAL" clId="{97F2CE2F-51CF-49C4-8166-5295EBE78925}" dt="2024-11-03T19:32:20.931" v="1449" actId="47"/>
        <pc:sldMkLst>
          <pc:docMk/>
          <pc:sldMk cId="1171042750" sldId="2126987233"/>
        </pc:sldMkLst>
      </pc:sldChg>
      <pc:sldChg chg="del">
        <pc:chgData name="Thompson, Neil" userId="666b3560-10c6-47c6-810b-0f5c9f3d8792" providerId="ADAL" clId="{97F2CE2F-51CF-49C4-8166-5295EBE78925}" dt="2024-11-03T19:32:20.931" v="1449" actId="47"/>
        <pc:sldMkLst>
          <pc:docMk/>
          <pc:sldMk cId="2470363710" sldId="2126987234"/>
        </pc:sldMkLst>
      </pc:sldChg>
      <pc:sldChg chg="del">
        <pc:chgData name="Thompson, Neil" userId="666b3560-10c6-47c6-810b-0f5c9f3d8792" providerId="ADAL" clId="{97F2CE2F-51CF-49C4-8166-5295EBE78925}" dt="2024-11-03T19:32:22.269" v="1450" actId="47"/>
        <pc:sldMkLst>
          <pc:docMk/>
          <pc:sldMk cId="933161749" sldId="2126987237"/>
        </pc:sldMkLst>
      </pc:sldChg>
      <pc:sldChg chg="del">
        <pc:chgData name="Thompson, Neil" userId="666b3560-10c6-47c6-810b-0f5c9f3d8792" providerId="ADAL" clId="{97F2CE2F-51CF-49C4-8166-5295EBE78925}" dt="2024-11-03T19:32:22.269" v="1450" actId="47"/>
        <pc:sldMkLst>
          <pc:docMk/>
          <pc:sldMk cId="3886163792" sldId="2126987238"/>
        </pc:sldMkLst>
      </pc:sldChg>
      <pc:sldChg chg="del">
        <pc:chgData name="Thompson, Neil" userId="666b3560-10c6-47c6-810b-0f5c9f3d8792" providerId="ADAL" clId="{97F2CE2F-51CF-49C4-8166-5295EBE78925}" dt="2024-11-03T19:32:22.269" v="1450" actId="47"/>
        <pc:sldMkLst>
          <pc:docMk/>
          <pc:sldMk cId="2681361269" sldId="2126987243"/>
        </pc:sldMkLst>
      </pc:sldChg>
      <pc:sldChg chg="addSp modSp del mod ord">
        <pc:chgData name="Thompson, Neil" userId="666b3560-10c6-47c6-810b-0f5c9f3d8792" providerId="ADAL" clId="{97F2CE2F-51CF-49C4-8166-5295EBE78925}" dt="2024-11-03T19:30:47.548" v="1430" actId="47"/>
        <pc:sldMkLst>
          <pc:docMk/>
          <pc:sldMk cId="3273197845" sldId="2126987244"/>
        </pc:sldMkLst>
        <pc:spChg chg="add mod">
          <ac:chgData name="Thompson, Neil" userId="666b3560-10c6-47c6-810b-0f5c9f3d8792" providerId="ADAL" clId="{97F2CE2F-51CF-49C4-8166-5295EBE78925}" dt="2024-11-03T18:32:59.154" v="753"/>
          <ac:spMkLst>
            <pc:docMk/>
            <pc:sldMk cId="3273197845" sldId="2126987244"/>
            <ac:spMk id="2" creationId="{20CB2A87-F311-2DEB-A9E9-7057BEA12951}"/>
          </ac:spMkLst>
        </pc:spChg>
        <pc:spChg chg="add mod">
          <ac:chgData name="Thompson, Neil" userId="666b3560-10c6-47c6-810b-0f5c9f3d8792" providerId="ADAL" clId="{97F2CE2F-51CF-49C4-8166-5295EBE78925}" dt="2024-11-03T18:33:09.795" v="758"/>
          <ac:spMkLst>
            <pc:docMk/>
            <pc:sldMk cId="3273197845" sldId="2126987244"/>
            <ac:spMk id="6" creationId="{BB90B16B-D814-0502-1BD2-9F7586699C3F}"/>
          </ac:spMkLst>
        </pc:spChg>
        <pc:picChg chg="mod">
          <ac:chgData name="Thompson, Neil" userId="666b3560-10c6-47c6-810b-0f5c9f3d8792" providerId="ADAL" clId="{97F2CE2F-51CF-49C4-8166-5295EBE78925}" dt="2024-11-03T18:33:11.637" v="759" actId="14100"/>
          <ac:picMkLst>
            <pc:docMk/>
            <pc:sldMk cId="3273197845" sldId="2126987244"/>
            <ac:picMk id="7" creationId="{D1DCB066-86D2-BE2A-179C-80D0218CB384}"/>
          </ac:picMkLst>
        </pc:picChg>
      </pc:sldChg>
      <pc:sldChg chg="del">
        <pc:chgData name="Thompson, Neil" userId="666b3560-10c6-47c6-810b-0f5c9f3d8792" providerId="ADAL" clId="{97F2CE2F-51CF-49C4-8166-5295EBE78925}" dt="2024-11-03T19:32:20.931" v="1449" actId="47"/>
        <pc:sldMkLst>
          <pc:docMk/>
          <pc:sldMk cId="2597999035" sldId="2126987245"/>
        </pc:sldMkLst>
      </pc:sldChg>
      <pc:sldChg chg="del">
        <pc:chgData name="Thompson, Neil" userId="666b3560-10c6-47c6-810b-0f5c9f3d8792" providerId="ADAL" clId="{97F2CE2F-51CF-49C4-8166-5295EBE78925}" dt="2024-11-03T19:32:20.931" v="1449" actId="47"/>
        <pc:sldMkLst>
          <pc:docMk/>
          <pc:sldMk cId="3352247818" sldId="2126987246"/>
        </pc:sldMkLst>
      </pc:sldChg>
      <pc:sldChg chg="del">
        <pc:chgData name="Thompson, Neil" userId="666b3560-10c6-47c6-810b-0f5c9f3d8792" providerId="ADAL" clId="{97F2CE2F-51CF-49C4-8166-5295EBE78925}" dt="2024-11-03T19:32:20.931" v="1449" actId="47"/>
        <pc:sldMkLst>
          <pc:docMk/>
          <pc:sldMk cId="3184882885" sldId="2126987247"/>
        </pc:sldMkLst>
      </pc:sldChg>
      <pc:sldChg chg="del">
        <pc:chgData name="Thompson, Neil" userId="666b3560-10c6-47c6-810b-0f5c9f3d8792" providerId="ADAL" clId="{97F2CE2F-51CF-49C4-8166-5295EBE78925}" dt="2024-11-03T19:32:22.269" v="1450" actId="47"/>
        <pc:sldMkLst>
          <pc:docMk/>
          <pc:sldMk cId="4187870997" sldId="2126987249"/>
        </pc:sldMkLst>
      </pc:sldChg>
      <pc:sldChg chg="del">
        <pc:chgData name="Thompson, Neil" userId="666b3560-10c6-47c6-810b-0f5c9f3d8792" providerId="ADAL" clId="{97F2CE2F-51CF-49C4-8166-5295EBE78925}" dt="2024-11-03T19:32:22.269" v="1450" actId="47"/>
        <pc:sldMkLst>
          <pc:docMk/>
          <pc:sldMk cId="1465319394" sldId="2126987250"/>
        </pc:sldMkLst>
      </pc:sldChg>
      <pc:sldChg chg="del">
        <pc:chgData name="Thompson, Neil" userId="666b3560-10c6-47c6-810b-0f5c9f3d8792" providerId="ADAL" clId="{97F2CE2F-51CF-49C4-8166-5295EBE78925}" dt="2024-11-03T19:32:22.269" v="1450" actId="47"/>
        <pc:sldMkLst>
          <pc:docMk/>
          <pc:sldMk cId="3067363370" sldId="2126987251"/>
        </pc:sldMkLst>
      </pc:sldChg>
      <pc:sldChg chg="del">
        <pc:chgData name="Thompson, Neil" userId="666b3560-10c6-47c6-810b-0f5c9f3d8792" providerId="ADAL" clId="{97F2CE2F-51CF-49C4-8166-5295EBE78925}" dt="2024-11-03T19:32:23.800" v="1451" actId="47"/>
        <pc:sldMkLst>
          <pc:docMk/>
          <pc:sldMk cId="3477962177" sldId="2126987253"/>
        </pc:sldMkLst>
      </pc:sldChg>
      <pc:sldChg chg="del">
        <pc:chgData name="Thompson, Neil" userId="666b3560-10c6-47c6-810b-0f5c9f3d8792" providerId="ADAL" clId="{97F2CE2F-51CF-49C4-8166-5295EBE78925}" dt="2024-11-03T19:32:23.800" v="1451" actId="47"/>
        <pc:sldMkLst>
          <pc:docMk/>
          <pc:sldMk cId="2722705243" sldId="2126987254"/>
        </pc:sldMkLst>
      </pc:sldChg>
      <pc:sldChg chg="del">
        <pc:chgData name="Thompson, Neil" userId="666b3560-10c6-47c6-810b-0f5c9f3d8792" providerId="ADAL" clId="{97F2CE2F-51CF-49C4-8166-5295EBE78925}" dt="2024-11-03T19:32:23.800" v="1451" actId="47"/>
        <pc:sldMkLst>
          <pc:docMk/>
          <pc:sldMk cId="4182816986" sldId="2126987255"/>
        </pc:sldMkLst>
      </pc:sldChg>
      <pc:sldChg chg="del">
        <pc:chgData name="Thompson, Neil" userId="666b3560-10c6-47c6-810b-0f5c9f3d8792" providerId="ADAL" clId="{97F2CE2F-51CF-49C4-8166-5295EBE78925}" dt="2024-11-03T19:32:23.800" v="1451" actId="47"/>
        <pc:sldMkLst>
          <pc:docMk/>
          <pc:sldMk cId="3004227518" sldId="2126987256"/>
        </pc:sldMkLst>
      </pc:sldChg>
      <pc:sldChg chg="del">
        <pc:chgData name="Thompson, Neil" userId="666b3560-10c6-47c6-810b-0f5c9f3d8792" providerId="ADAL" clId="{97F2CE2F-51CF-49C4-8166-5295EBE78925}" dt="2024-11-03T19:32:23.800" v="1451" actId="47"/>
        <pc:sldMkLst>
          <pc:docMk/>
          <pc:sldMk cId="137824958" sldId="2126987257"/>
        </pc:sldMkLst>
      </pc:sldChg>
      <pc:sldChg chg="del">
        <pc:chgData name="Thompson, Neil" userId="666b3560-10c6-47c6-810b-0f5c9f3d8792" providerId="ADAL" clId="{97F2CE2F-51CF-49C4-8166-5295EBE78925}" dt="2024-11-03T19:32:23.800" v="1451" actId="47"/>
        <pc:sldMkLst>
          <pc:docMk/>
          <pc:sldMk cId="1525140680" sldId="2126987258"/>
        </pc:sldMkLst>
      </pc:sldChg>
      <pc:sldChg chg="del">
        <pc:chgData name="Thompson, Neil" userId="666b3560-10c6-47c6-810b-0f5c9f3d8792" providerId="ADAL" clId="{97F2CE2F-51CF-49C4-8166-5295EBE78925}" dt="2024-11-03T19:32:23.800" v="1451" actId="47"/>
        <pc:sldMkLst>
          <pc:docMk/>
          <pc:sldMk cId="1450605601" sldId="2126987259"/>
        </pc:sldMkLst>
      </pc:sldChg>
      <pc:sldChg chg="del">
        <pc:chgData name="Thompson, Neil" userId="666b3560-10c6-47c6-810b-0f5c9f3d8792" providerId="ADAL" clId="{97F2CE2F-51CF-49C4-8166-5295EBE78925}" dt="2024-11-03T19:32:26.323" v="1453" actId="47"/>
        <pc:sldMkLst>
          <pc:docMk/>
          <pc:sldMk cId="3648924675" sldId="2126987262"/>
        </pc:sldMkLst>
      </pc:sldChg>
      <pc:sldChg chg="del">
        <pc:chgData name="Thompson, Neil" userId="666b3560-10c6-47c6-810b-0f5c9f3d8792" providerId="ADAL" clId="{97F2CE2F-51CF-49C4-8166-5295EBE78925}" dt="2024-11-03T19:32:26.323" v="1453" actId="47"/>
        <pc:sldMkLst>
          <pc:docMk/>
          <pc:sldMk cId="694869359" sldId="2126987263"/>
        </pc:sldMkLst>
      </pc:sldChg>
      <pc:sldChg chg="del">
        <pc:chgData name="Thompson, Neil" userId="666b3560-10c6-47c6-810b-0f5c9f3d8792" providerId="ADAL" clId="{97F2CE2F-51CF-49C4-8166-5295EBE78925}" dt="2024-11-03T19:32:26.323" v="1453" actId="47"/>
        <pc:sldMkLst>
          <pc:docMk/>
          <pc:sldMk cId="2967096083" sldId="2126987265"/>
        </pc:sldMkLst>
      </pc:sldChg>
      <pc:sldChg chg="del">
        <pc:chgData name="Thompson, Neil" userId="666b3560-10c6-47c6-810b-0f5c9f3d8792" providerId="ADAL" clId="{97F2CE2F-51CF-49C4-8166-5295EBE78925}" dt="2024-11-03T19:32:22.269" v="1450" actId="47"/>
        <pc:sldMkLst>
          <pc:docMk/>
          <pc:sldMk cId="2917231129" sldId="2126987266"/>
        </pc:sldMkLst>
      </pc:sldChg>
      <pc:sldChg chg="del">
        <pc:chgData name="Thompson, Neil" userId="666b3560-10c6-47c6-810b-0f5c9f3d8792" providerId="ADAL" clId="{97F2CE2F-51CF-49C4-8166-5295EBE78925}" dt="2024-11-03T19:32:22.269" v="1450" actId="47"/>
        <pc:sldMkLst>
          <pc:docMk/>
          <pc:sldMk cId="4260963087" sldId="2126987267"/>
        </pc:sldMkLst>
      </pc:sldChg>
      <pc:sldChg chg="del">
        <pc:chgData name="Thompson, Neil" userId="666b3560-10c6-47c6-810b-0f5c9f3d8792" providerId="ADAL" clId="{97F2CE2F-51CF-49C4-8166-5295EBE78925}" dt="2024-11-03T19:32:22.269" v="1450" actId="47"/>
        <pc:sldMkLst>
          <pc:docMk/>
          <pc:sldMk cId="1448033620" sldId="2126987268"/>
        </pc:sldMkLst>
      </pc:sldChg>
      <pc:sldChg chg="del">
        <pc:chgData name="Thompson, Neil" userId="666b3560-10c6-47c6-810b-0f5c9f3d8792" providerId="ADAL" clId="{97F2CE2F-51CF-49C4-8166-5295EBE78925}" dt="2024-11-03T19:32:22.269" v="1450" actId="47"/>
        <pc:sldMkLst>
          <pc:docMk/>
          <pc:sldMk cId="2993528161" sldId="2126987269"/>
        </pc:sldMkLst>
      </pc:sldChg>
      <pc:sldChg chg="del">
        <pc:chgData name="Thompson, Neil" userId="666b3560-10c6-47c6-810b-0f5c9f3d8792" providerId="ADAL" clId="{97F2CE2F-51CF-49C4-8166-5295EBE78925}" dt="2024-11-03T19:32:22.269" v="1450" actId="47"/>
        <pc:sldMkLst>
          <pc:docMk/>
          <pc:sldMk cId="3230130015" sldId="2126987270"/>
        </pc:sldMkLst>
      </pc:sldChg>
      <pc:sldChg chg="del">
        <pc:chgData name="Thompson, Neil" userId="666b3560-10c6-47c6-810b-0f5c9f3d8792" providerId="ADAL" clId="{97F2CE2F-51CF-49C4-8166-5295EBE78925}" dt="2024-11-03T19:32:20.931" v="1449" actId="47"/>
        <pc:sldMkLst>
          <pc:docMk/>
          <pc:sldMk cId="59527303" sldId="2126987271"/>
        </pc:sldMkLst>
      </pc:sldChg>
      <pc:sldChg chg="modSp del mod ord modNotesTx">
        <pc:chgData name="Thompson, Neil" userId="666b3560-10c6-47c6-810b-0f5c9f3d8792" providerId="ADAL" clId="{97F2CE2F-51CF-49C4-8166-5295EBE78925}" dt="2024-11-11T20:30:23.399" v="3016" actId="47"/>
        <pc:sldMkLst>
          <pc:docMk/>
          <pc:sldMk cId="2848639837" sldId="2126987274"/>
        </pc:sldMkLst>
        <pc:spChg chg="mod">
          <ac:chgData name="Thompson, Neil" userId="666b3560-10c6-47c6-810b-0f5c9f3d8792" providerId="ADAL" clId="{97F2CE2F-51CF-49C4-8166-5295EBE78925}" dt="2024-11-03T19:33:08.716" v="1458"/>
          <ac:spMkLst>
            <pc:docMk/>
            <pc:sldMk cId="2848639837" sldId="2126987274"/>
            <ac:spMk id="4" creationId="{7753B4C2-769E-8A37-644A-706675B7C7A3}"/>
          </ac:spMkLst>
        </pc:spChg>
      </pc:sldChg>
      <pc:sldChg chg="del">
        <pc:chgData name="Thompson, Neil" userId="666b3560-10c6-47c6-810b-0f5c9f3d8792" providerId="ADAL" clId="{97F2CE2F-51CF-49C4-8166-5295EBE78925}" dt="2024-11-03T19:32:13.908" v="1445" actId="47"/>
        <pc:sldMkLst>
          <pc:docMk/>
          <pc:sldMk cId="1226943112" sldId="2126987278"/>
        </pc:sldMkLst>
      </pc:sldChg>
      <pc:sldChg chg="del">
        <pc:chgData name="Thompson, Neil" userId="666b3560-10c6-47c6-810b-0f5c9f3d8792" providerId="ADAL" clId="{97F2CE2F-51CF-49C4-8166-5295EBE78925}" dt="2024-11-03T19:32:16.153" v="1446" actId="47"/>
        <pc:sldMkLst>
          <pc:docMk/>
          <pc:sldMk cId="312357540" sldId="2126987279"/>
        </pc:sldMkLst>
      </pc:sldChg>
      <pc:sldChg chg="del">
        <pc:chgData name="Thompson, Neil" userId="666b3560-10c6-47c6-810b-0f5c9f3d8792" providerId="ADAL" clId="{97F2CE2F-51CF-49C4-8166-5295EBE78925}" dt="2024-11-03T19:32:16.153" v="1446" actId="47"/>
        <pc:sldMkLst>
          <pc:docMk/>
          <pc:sldMk cId="1403231698" sldId="2126987280"/>
        </pc:sldMkLst>
      </pc:sldChg>
      <pc:sldChg chg="del">
        <pc:chgData name="Thompson, Neil" userId="666b3560-10c6-47c6-810b-0f5c9f3d8792" providerId="ADAL" clId="{97F2CE2F-51CF-49C4-8166-5295EBE78925}" dt="2024-11-03T19:32:16.153" v="1446" actId="47"/>
        <pc:sldMkLst>
          <pc:docMk/>
          <pc:sldMk cId="1801589953" sldId="2126987281"/>
        </pc:sldMkLst>
      </pc:sldChg>
      <pc:sldChg chg="del">
        <pc:chgData name="Thompson, Neil" userId="666b3560-10c6-47c6-810b-0f5c9f3d8792" providerId="ADAL" clId="{97F2CE2F-51CF-49C4-8166-5295EBE78925}" dt="2024-11-03T19:32:18.264" v="1447" actId="47"/>
        <pc:sldMkLst>
          <pc:docMk/>
          <pc:sldMk cId="2732905066" sldId="2126987282"/>
        </pc:sldMkLst>
      </pc:sldChg>
      <pc:sldChg chg="del">
        <pc:chgData name="Thompson, Neil" userId="666b3560-10c6-47c6-810b-0f5c9f3d8792" providerId="ADAL" clId="{97F2CE2F-51CF-49C4-8166-5295EBE78925}" dt="2024-11-03T19:32:19.684" v="1448" actId="47"/>
        <pc:sldMkLst>
          <pc:docMk/>
          <pc:sldMk cId="3901188417" sldId="2126987283"/>
        </pc:sldMkLst>
      </pc:sldChg>
      <pc:sldChg chg="del">
        <pc:chgData name="Thompson, Neil" userId="666b3560-10c6-47c6-810b-0f5c9f3d8792" providerId="ADAL" clId="{97F2CE2F-51CF-49C4-8166-5295EBE78925}" dt="2024-11-03T19:32:20.931" v="1449" actId="47"/>
        <pc:sldMkLst>
          <pc:docMk/>
          <pc:sldMk cId="2166149760" sldId="2126987284"/>
        </pc:sldMkLst>
      </pc:sldChg>
      <pc:sldChg chg="del">
        <pc:chgData name="Thompson, Neil" userId="666b3560-10c6-47c6-810b-0f5c9f3d8792" providerId="ADAL" clId="{97F2CE2F-51CF-49C4-8166-5295EBE78925}" dt="2024-11-03T19:32:22.269" v="1450" actId="47"/>
        <pc:sldMkLst>
          <pc:docMk/>
          <pc:sldMk cId="32675038" sldId="2126987285"/>
        </pc:sldMkLst>
      </pc:sldChg>
      <pc:sldChg chg="del">
        <pc:chgData name="Thompson, Neil" userId="666b3560-10c6-47c6-810b-0f5c9f3d8792" providerId="ADAL" clId="{97F2CE2F-51CF-49C4-8166-5295EBE78925}" dt="2024-11-03T19:32:23.800" v="1451" actId="47"/>
        <pc:sldMkLst>
          <pc:docMk/>
          <pc:sldMk cId="720062597" sldId="2126987286"/>
        </pc:sldMkLst>
      </pc:sldChg>
      <pc:sldChg chg="del">
        <pc:chgData name="Thompson, Neil" userId="666b3560-10c6-47c6-810b-0f5c9f3d8792" providerId="ADAL" clId="{97F2CE2F-51CF-49C4-8166-5295EBE78925}" dt="2024-11-03T19:32:26.323" v="1453" actId="47"/>
        <pc:sldMkLst>
          <pc:docMk/>
          <pc:sldMk cId="1443790187" sldId="2126987287"/>
        </pc:sldMkLst>
      </pc:sldChg>
      <pc:sldChg chg="del">
        <pc:chgData name="Thompson, Neil" userId="666b3560-10c6-47c6-810b-0f5c9f3d8792" providerId="ADAL" clId="{97F2CE2F-51CF-49C4-8166-5295EBE78925}" dt="2024-11-03T19:32:25.152" v="1452" actId="47"/>
        <pc:sldMkLst>
          <pc:docMk/>
          <pc:sldMk cId="916089005" sldId="2126987293"/>
        </pc:sldMkLst>
      </pc:sldChg>
      <pc:sldChg chg="del">
        <pc:chgData name="Thompson, Neil" userId="666b3560-10c6-47c6-810b-0f5c9f3d8792" providerId="ADAL" clId="{97F2CE2F-51CF-49C4-8166-5295EBE78925}" dt="2024-11-03T19:32:25.152" v="1452" actId="47"/>
        <pc:sldMkLst>
          <pc:docMk/>
          <pc:sldMk cId="3236299821" sldId="2126987294"/>
        </pc:sldMkLst>
      </pc:sldChg>
      <pc:sldChg chg="del">
        <pc:chgData name="Thompson, Neil" userId="666b3560-10c6-47c6-810b-0f5c9f3d8792" providerId="ADAL" clId="{97F2CE2F-51CF-49C4-8166-5295EBE78925}" dt="2024-11-03T19:32:25.152" v="1452" actId="47"/>
        <pc:sldMkLst>
          <pc:docMk/>
          <pc:sldMk cId="786198688" sldId="2126987295"/>
        </pc:sldMkLst>
      </pc:sldChg>
      <pc:sldChg chg="del">
        <pc:chgData name="Thompson, Neil" userId="666b3560-10c6-47c6-810b-0f5c9f3d8792" providerId="ADAL" clId="{97F2CE2F-51CF-49C4-8166-5295EBE78925}" dt="2024-11-03T19:32:11.267" v="1444" actId="47"/>
        <pc:sldMkLst>
          <pc:docMk/>
          <pc:sldMk cId="713551364" sldId="2126987298"/>
        </pc:sldMkLst>
      </pc:sldChg>
      <pc:sldChg chg="del">
        <pc:chgData name="Thompson, Neil" userId="666b3560-10c6-47c6-810b-0f5c9f3d8792" providerId="ADAL" clId="{97F2CE2F-51CF-49C4-8166-5295EBE78925}" dt="2024-11-03T19:32:25.152" v="1452" actId="47"/>
        <pc:sldMkLst>
          <pc:docMk/>
          <pc:sldMk cId="1032144610" sldId="2126987302"/>
        </pc:sldMkLst>
      </pc:sldChg>
      <pc:sldChg chg="del">
        <pc:chgData name="Thompson, Neil" userId="666b3560-10c6-47c6-810b-0f5c9f3d8792" providerId="ADAL" clId="{97F2CE2F-51CF-49C4-8166-5295EBE78925}" dt="2024-11-03T19:32:25.152" v="1452" actId="47"/>
        <pc:sldMkLst>
          <pc:docMk/>
          <pc:sldMk cId="300215036" sldId="2126987304"/>
        </pc:sldMkLst>
      </pc:sldChg>
      <pc:sldChg chg="modSp del mod ord">
        <pc:chgData name="Thompson, Neil" userId="666b3560-10c6-47c6-810b-0f5c9f3d8792" providerId="ADAL" clId="{97F2CE2F-51CF-49C4-8166-5295EBE78925}" dt="2024-11-11T20:30:23.399" v="3016" actId="47"/>
        <pc:sldMkLst>
          <pc:docMk/>
          <pc:sldMk cId="3066642424" sldId="2126987305"/>
        </pc:sldMkLst>
        <pc:spChg chg="mod">
          <ac:chgData name="Thompson, Neil" userId="666b3560-10c6-47c6-810b-0f5c9f3d8792" providerId="ADAL" clId="{97F2CE2F-51CF-49C4-8166-5295EBE78925}" dt="2024-11-03T17:50:30.150" v="5"/>
          <ac:spMkLst>
            <pc:docMk/>
            <pc:sldMk cId="3066642424" sldId="2126987305"/>
            <ac:spMk id="6" creationId="{C5DD403E-A0BA-36E8-4C5F-D48D1C5AD41D}"/>
          </ac:spMkLst>
        </pc:spChg>
        <pc:spChg chg="mod">
          <ac:chgData name="Thompson, Neil" userId="666b3560-10c6-47c6-810b-0f5c9f3d8792" providerId="ADAL" clId="{97F2CE2F-51CF-49C4-8166-5295EBE78925}" dt="2024-11-03T17:50:20.199" v="4" actId="255"/>
          <ac:spMkLst>
            <pc:docMk/>
            <pc:sldMk cId="3066642424" sldId="2126987305"/>
            <ac:spMk id="7" creationId="{6FC6D004-82CB-7133-3D0F-3C6405CA1FF1}"/>
          </ac:spMkLst>
        </pc:spChg>
        <pc:picChg chg="mod modCrop">
          <ac:chgData name="Thompson, Neil" userId="666b3560-10c6-47c6-810b-0f5c9f3d8792" providerId="ADAL" clId="{97F2CE2F-51CF-49C4-8166-5295EBE78925}" dt="2024-11-03T18:00:49.548" v="181" actId="14100"/>
          <ac:picMkLst>
            <pc:docMk/>
            <pc:sldMk cId="3066642424" sldId="2126987305"/>
            <ac:picMk id="9" creationId="{910F20F6-5B25-A2D1-2849-3D4F9186E9D0}"/>
          </ac:picMkLst>
        </pc:picChg>
      </pc:sldChg>
      <pc:sldChg chg="del">
        <pc:chgData name="Thompson, Neil" userId="666b3560-10c6-47c6-810b-0f5c9f3d8792" providerId="ADAL" clId="{97F2CE2F-51CF-49C4-8166-5295EBE78925}" dt="2024-11-03T19:32:25.152" v="1452" actId="47"/>
        <pc:sldMkLst>
          <pc:docMk/>
          <pc:sldMk cId="18387709" sldId="2126987306"/>
        </pc:sldMkLst>
      </pc:sldChg>
      <pc:sldChg chg="del">
        <pc:chgData name="Thompson, Neil" userId="666b3560-10c6-47c6-810b-0f5c9f3d8792" providerId="ADAL" clId="{97F2CE2F-51CF-49C4-8166-5295EBE78925}" dt="2024-11-03T17:50:48.362" v="9" actId="47"/>
        <pc:sldMkLst>
          <pc:docMk/>
          <pc:sldMk cId="88096472" sldId="2126987308"/>
        </pc:sldMkLst>
      </pc:sldChg>
      <pc:sldChg chg="del ord setBg">
        <pc:chgData name="Thompson, Neil" userId="666b3560-10c6-47c6-810b-0f5c9f3d8792" providerId="ADAL" clId="{97F2CE2F-51CF-49C4-8166-5295EBE78925}" dt="2024-11-03T18:03:39.169" v="341" actId="2696"/>
        <pc:sldMkLst>
          <pc:docMk/>
          <pc:sldMk cId="1909816785" sldId="2126987310"/>
        </pc:sldMkLst>
      </pc:sldChg>
      <pc:sldChg chg="del">
        <pc:chgData name="Thompson, Neil" userId="666b3560-10c6-47c6-810b-0f5c9f3d8792" providerId="ADAL" clId="{97F2CE2F-51CF-49C4-8166-5295EBE78925}" dt="2024-11-03T19:32:13.908" v="1445" actId="47"/>
        <pc:sldMkLst>
          <pc:docMk/>
          <pc:sldMk cId="3634288577" sldId="2126987312"/>
        </pc:sldMkLst>
      </pc:sldChg>
      <pc:sldChg chg="addSp delSp modSp new del mod modNotesTx">
        <pc:chgData name="Thompson, Neil" userId="666b3560-10c6-47c6-810b-0f5c9f3d8792" providerId="ADAL" clId="{97F2CE2F-51CF-49C4-8166-5295EBE78925}" dt="2024-11-11T20:30:23.399" v="3016" actId="47"/>
        <pc:sldMkLst>
          <pc:docMk/>
          <pc:sldMk cId="167827496" sldId="2126987313"/>
        </pc:sldMkLst>
        <pc:spChg chg="del">
          <ac:chgData name="Thompson, Neil" userId="666b3560-10c6-47c6-810b-0f5c9f3d8792" providerId="ADAL" clId="{97F2CE2F-51CF-49C4-8166-5295EBE78925}" dt="2024-11-03T18:21:10.664" v="619" actId="478"/>
          <ac:spMkLst>
            <pc:docMk/>
            <pc:sldMk cId="167827496" sldId="2126987313"/>
            <ac:spMk id="2" creationId="{C5CEB8E9-3F51-6B6A-E96B-0F26BCAA219E}"/>
          </ac:spMkLst>
        </pc:spChg>
        <pc:spChg chg="del">
          <ac:chgData name="Thompson, Neil" userId="666b3560-10c6-47c6-810b-0f5c9f3d8792" providerId="ADAL" clId="{97F2CE2F-51CF-49C4-8166-5295EBE78925}" dt="2024-11-03T18:21:13.226" v="621" actId="478"/>
          <ac:spMkLst>
            <pc:docMk/>
            <pc:sldMk cId="167827496" sldId="2126987313"/>
            <ac:spMk id="3" creationId="{33A59A96-B538-F105-618A-BE565A16464B}"/>
          </ac:spMkLst>
        </pc:spChg>
        <pc:spChg chg="del mod">
          <ac:chgData name="Thompson, Neil" userId="666b3560-10c6-47c6-810b-0f5c9f3d8792" providerId="ADAL" clId="{97F2CE2F-51CF-49C4-8166-5295EBE78925}" dt="2024-11-03T18:21:36.456" v="630" actId="478"/>
          <ac:spMkLst>
            <pc:docMk/>
            <pc:sldMk cId="167827496" sldId="2126987313"/>
            <ac:spMk id="4" creationId="{8DBFF58C-7B7B-199D-9C3A-1348E8847CEB}"/>
          </ac:spMkLst>
        </pc:spChg>
        <pc:spChg chg="del mod">
          <ac:chgData name="Thompson, Neil" userId="666b3560-10c6-47c6-810b-0f5c9f3d8792" providerId="ADAL" clId="{97F2CE2F-51CF-49C4-8166-5295EBE78925}" dt="2024-11-03T18:21:35.186" v="629" actId="478"/>
          <ac:spMkLst>
            <pc:docMk/>
            <pc:sldMk cId="167827496" sldId="2126987313"/>
            <ac:spMk id="5" creationId="{11A10353-7D47-4A62-EC99-14B9DA2AEC41}"/>
          </ac:spMkLst>
        </pc:spChg>
        <pc:spChg chg="del">
          <ac:chgData name="Thompson, Neil" userId="666b3560-10c6-47c6-810b-0f5c9f3d8792" providerId="ADAL" clId="{97F2CE2F-51CF-49C4-8166-5295EBE78925}" dt="2024-11-03T18:21:12.017" v="620" actId="478"/>
          <ac:spMkLst>
            <pc:docMk/>
            <pc:sldMk cId="167827496" sldId="2126987313"/>
            <ac:spMk id="7" creationId="{00BED5F6-C9AA-1F43-636C-EB848FB8610E}"/>
          </ac:spMkLst>
        </pc:spChg>
        <pc:picChg chg="add del mod">
          <ac:chgData name="Thompson, Neil" userId="666b3560-10c6-47c6-810b-0f5c9f3d8792" providerId="ADAL" clId="{97F2CE2F-51CF-49C4-8166-5295EBE78925}" dt="2024-11-03T18:22:12.921" v="632" actId="478"/>
          <ac:picMkLst>
            <pc:docMk/>
            <pc:sldMk cId="167827496" sldId="2126987313"/>
            <ac:picMk id="9" creationId="{A311952B-9F15-4D1C-E662-CFD6C8BFEBDE}"/>
          </ac:picMkLst>
        </pc:picChg>
        <pc:picChg chg="add del mod">
          <ac:chgData name="Thompson, Neil" userId="666b3560-10c6-47c6-810b-0f5c9f3d8792" providerId="ADAL" clId="{97F2CE2F-51CF-49C4-8166-5295EBE78925}" dt="2024-11-03T18:23:10.987" v="637" actId="478"/>
          <ac:picMkLst>
            <pc:docMk/>
            <pc:sldMk cId="167827496" sldId="2126987313"/>
            <ac:picMk id="11" creationId="{142E4FD8-A8D5-9ADC-8B4C-4BEA901CD323}"/>
          </ac:picMkLst>
        </pc:picChg>
        <pc:picChg chg="add mod">
          <ac:chgData name="Thompson, Neil" userId="666b3560-10c6-47c6-810b-0f5c9f3d8792" providerId="ADAL" clId="{97F2CE2F-51CF-49C4-8166-5295EBE78925}" dt="2024-11-03T18:24:37.812" v="648" actId="14100"/>
          <ac:picMkLst>
            <pc:docMk/>
            <pc:sldMk cId="167827496" sldId="2126987313"/>
            <ac:picMk id="13" creationId="{974B56A3-72AF-F1A6-F191-B8AF5C9025F3}"/>
          </ac:picMkLst>
        </pc:picChg>
      </pc:sldChg>
      <pc:sldChg chg="addSp delSp modSp new del mod modClrScheme chgLayout">
        <pc:chgData name="Thompson, Neil" userId="666b3560-10c6-47c6-810b-0f5c9f3d8792" providerId="ADAL" clId="{97F2CE2F-51CF-49C4-8166-5295EBE78925}" dt="2024-11-03T19:00:03.917" v="954" actId="47"/>
        <pc:sldMkLst>
          <pc:docMk/>
          <pc:sldMk cId="4194139757" sldId="2126987314"/>
        </pc:sldMkLst>
        <pc:spChg chg="mod ord">
          <ac:chgData name="Thompson, Neil" userId="666b3560-10c6-47c6-810b-0f5c9f3d8792" providerId="ADAL" clId="{97F2CE2F-51CF-49C4-8166-5295EBE78925}" dt="2024-11-03T18:48:18.828" v="850" actId="255"/>
          <ac:spMkLst>
            <pc:docMk/>
            <pc:sldMk cId="4194139757" sldId="2126987314"/>
            <ac:spMk id="2" creationId="{738F4F81-B3DC-D24B-F4F1-C317A5AD837E}"/>
          </ac:spMkLst>
        </pc:spChg>
        <pc:spChg chg="del mod">
          <ac:chgData name="Thompson, Neil" userId="666b3560-10c6-47c6-810b-0f5c9f3d8792" providerId="ADAL" clId="{97F2CE2F-51CF-49C4-8166-5295EBE78925}" dt="2024-11-03T18:30:53.494" v="745" actId="478"/>
          <ac:spMkLst>
            <pc:docMk/>
            <pc:sldMk cId="4194139757" sldId="2126987314"/>
            <ac:spMk id="3" creationId="{B9A3035F-63F8-F33C-3C36-BFE5D3D7CF46}"/>
          </ac:spMkLst>
        </pc:spChg>
        <pc:spChg chg="del">
          <ac:chgData name="Thompson, Neil" userId="666b3560-10c6-47c6-810b-0f5c9f3d8792" providerId="ADAL" clId="{97F2CE2F-51CF-49C4-8166-5295EBE78925}" dt="2024-11-03T18:26:41.319" v="724" actId="478"/>
          <ac:spMkLst>
            <pc:docMk/>
            <pc:sldMk cId="4194139757" sldId="2126987314"/>
            <ac:spMk id="4" creationId="{8F3EF07C-9CC7-32D4-0002-F150D969A07D}"/>
          </ac:spMkLst>
        </pc:spChg>
        <pc:spChg chg="del">
          <ac:chgData name="Thompson, Neil" userId="666b3560-10c6-47c6-810b-0f5c9f3d8792" providerId="ADAL" clId="{97F2CE2F-51CF-49C4-8166-5295EBE78925}" dt="2024-11-03T18:26:43.032" v="725" actId="478"/>
          <ac:spMkLst>
            <pc:docMk/>
            <pc:sldMk cId="4194139757" sldId="2126987314"/>
            <ac:spMk id="5" creationId="{3FCA55A2-2503-E5B6-F491-DE96D958BACA}"/>
          </ac:spMkLst>
        </pc:spChg>
        <pc:spChg chg="mod ord">
          <ac:chgData name="Thompson, Neil" userId="666b3560-10c6-47c6-810b-0f5c9f3d8792" providerId="ADAL" clId="{97F2CE2F-51CF-49C4-8166-5295EBE78925}" dt="2024-11-03T18:46:38.218" v="831" actId="1076"/>
          <ac:spMkLst>
            <pc:docMk/>
            <pc:sldMk cId="4194139757" sldId="2126987314"/>
            <ac:spMk id="6" creationId="{8568AD83-3A96-2A70-C339-BDC36C256C8A}"/>
          </ac:spMkLst>
        </pc:spChg>
        <pc:spChg chg="del">
          <ac:chgData name="Thompson, Neil" userId="666b3560-10c6-47c6-810b-0f5c9f3d8792" providerId="ADAL" clId="{97F2CE2F-51CF-49C4-8166-5295EBE78925}" dt="2024-11-03T18:26:30.752" v="721" actId="478"/>
          <ac:spMkLst>
            <pc:docMk/>
            <pc:sldMk cId="4194139757" sldId="2126987314"/>
            <ac:spMk id="7" creationId="{1B471027-5CF5-BA9D-53E8-9CA82ADE5F5F}"/>
          </ac:spMkLst>
        </pc:spChg>
        <pc:spChg chg="add del mod">
          <ac:chgData name="Thompson, Neil" userId="666b3560-10c6-47c6-810b-0f5c9f3d8792" providerId="ADAL" clId="{97F2CE2F-51CF-49C4-8166-5295EBE78925}" dt="2024-11-03T18:37:40.562" v="778" actId="478"/>
          <ac:spMkLst>
            <pc:docMk/>
            <pc:sldMk cId="4194139757" sldId="2126987314"/>
            <ac:spMk id="9" creationId="{89339495-9ABC-30AC-540A-734390AD1FCF}"/>
          </ac:spMkLst>
        </pc:spChg>
        <pc:spChg chg="add">
          <ac:chgData name="Thompson, Neil" userId="666b3560-10c6-47c6-810b-0f5c9f3d8792" providerId="ADAL" clId="{97F2CE2F-51CF-49C4-8166-5295EBE78925}" dt="2024-11-03T18:37:42.641" v="779"/>
          <ac:spMkLst>
            <pc:docMk/>
            <pc:sldMk cId="4194139757" sldId="2126987314"/>
            <ac:spMk id="10" creationId="{6EE622A8-EACA-7C5F-CE25-4BB4FC9CF9D1}"/>
          </ac:spMkLst>
        </pc:spChg>
        <pc:spChg chg="add">
          <ac:chgData name="Thompson, Neil" userId="666b3560-10c6-47c6-810b-0f5c9f3d8792" providerId="ADAL" clId="{97F2CE2F-51CF-49C4-8166-5295EBE78925}" dt="2024-11-03T18:37:45.185" v="780"/>
          <ac:spMkLst>
            <pc:docMk/>
            <pc:sldMk cId="4194139757" sldId="2126987314"/>
            <ac:spMk id="11" creationId="{FF435244-7676-0BF8-64B3-999E31975948}"/>
          </ac:spMkLst>
        </pc:spChg>
        <pc:spChg chg="add del mod ord">
          <ac:chgData name="Thompson, Neil" userId="666b3560-10c6-47c6-810b-0f5c9f3d8792" providerId="ADAL" clId="{97F2CE2F-51CF-49C4-8166-5295EBE78925}" dt="2024-11-03T18:46:47.810" v="832"/>
          <ac:spMkLst>
            <pc:docMk/>
            <pc:sldMk cId="4194139757" sldId="2126987314"/>
            <ac:spMk id="12" creationId="{CDBEBCAD-0437-C568-EE20-832BF11C6CC8}"/>
          </ac:spMkLst>
        </pc:spChg>
        <pc:spChg chg="add mod ord">
          <ac:chgData name="Thompson, Neil" userId="666b3560-10c6-47c6-810b-0f5c9f3d8792" providerId="ADAL" clId="{97F2CE2F-51CF-49C4-8166-5295EBE78925}" dt="2024-11-03T18:48:29.764" v="851"/>
          <ac:spMkLst>
            <pc:docMk/>
            <pc:sldMk cId="4194139757" sldId="2126987314"/>
            <ac:spMk id="13" creationId="{D7F5F170-1D10-9B74-7074-6483D9AE0DB0}"/>
          </ac:spMkLst>
        </pc:spChg>
        <pc:spChg chg="add mod ord">
          <ac:chgData name="Thompson, Neil" userId="666b3560-10c6-47c6-810b-0f5c9f3d8792" providerId="ADAL" clId="{97F2CE2F-51CF-49C4-8166-5295EBE78925}" dt="2024-11-03T18:48:34.770" v="852"/>
          <ac:spMkLst>
            <pc:docMk/>
            <pc:sldMk cId="4194139757" sldId="2126987314"/>
            <ac:spMk id="14" creationId="{39FF4733-1EBB-0BC7-8457-2D393527EEF5}"/>
          </ac:spMkLst>
        </pc:spChg>
        <pc:spChg chg="add mod ord">
          <ac:chgData name="Thompson, Neil" userId="666b3560-10c6-47c6-810b-0f5c9f3d8792" providerId="ADAL" clId="{97F2CE2F-51CF-49C4-8166-5295EBE78925}" dt="2024-11-03T18:48:41.111" v="853"/>
          <ac:spMkLst>
            <pc:docMk/>
            <pc:sldMk cId="4194139757" sldId="2126987314"/>
            <ac:spMk id="15" creationId="{7436141D-E42A-6123-0E8A-AFE713DF8FB5}"/>
          </ac:spMkLst>
        </pc:spChg>
        <pc:spChg chg="add mod ord">
          <ac:chgData name="Thompson, Neil" userId="666b3560-10c6-47c6-810b-0f5c9f3d8792" providerId="ADAL" clId="{97F2CE2F-51CF-49C4-8166-5295EBE78925}" dt="2024-11-03T18:48:47.452" v="854"/>
          <ac:spMkLst>
            <pc:docMk/>
            <pc:sldMk cId="4194139757" sldId="2126987314"/>
            <ac:spMk id="16" creationId="{2B6E3AEC-EE05-24E1-5110-3EED9CBF68E5}"/>
          </ac:spMkLst>
        </pc:spChg>
        <pc:spChg chg="add mod ord">
          <ac:chgData name="Thompson, Neil" userId="666b3560-10c6-47c6-810b-0f5c9f3d8792" providerId="ADAL" clId="{97F2CE2F-51CF-49C4-8166-5295EBE78925}" dt="2024-11-03T18:47:31.102" v="846"/>
          <ac:spMkLst>
            <pc:docMk/>
            <pc:sldMk cId="4194139757" sldId="2126987314"/>
            <ac:spMk id="17" creationId="{FF3A2319-7765-3772-DC51-3B22D3889ABF}"/>
          </ac:spMkLst>
        </pc:spChg>
        <pc:spChg chg="add mod ord">
          <ac:chgData name="Thompson, Neil" userId="666b3560-10c6-47c6-810b-0f5c9f3d8792" providerId="ADAL" clId="{97F2CE2F-51CF-49C4-8166-5295EBE78925}" dt="2024-11-03T18:47:36.661" v="847"/>
          <ac:spMkLst>
            <pc:docMk/>
            <pc:sldMk cId="4194139757" sldId="2126987314"/>
            <ac:spMk id="18" creationId="{C667A956-BA81-B46A-BCD3-0A8949ACB49B}"/>
          </ac:spMkLst>
        </pc:spChg>
        <pc:spChg chg="add mod ord">
          <ac:chgData name="Thompson, Neil" userId="666b3560-10c6-47c6-810b-0f5c9f3d8792" providerId="ADAL" clId="{97F2CE2F-51CF-49C4-8166-5295EBE78925}" dt="2024-11-03T18:47:40.632" v="848"/>
          <ac:spMkLst>
            <pc:docMk/>
            <pc:sldMk cId="4194139757" sldId="2126987314"/>
            <ac:spMk id="19" creationId="{3CF9FFA4-F39B-CD85-3BF2-3976FF9A888B}"/>
          </ac:spMkLst>
        </pc:spChg>
        <pc:spChg chg="add mod">
          <ac:chgData name="Thompson, Neil" userId="666b3560-10c6-47c6-810b-0f5c9f3d8792" providerId="ADAL" clId="{97F2CE2F-51CF-49C4-8166-5295EBE78925}" dt="2024-11-03T18:46:19.122" v="828"/>
          <ac:spMkLst>
            <pc:docMk/>
            <pc:sldMk cId="4194139757" sldId="2126987314"/>
            <ac:spMk id="20" creationId="{62358870-C139-8AA0-DEB0-16E8207F907D}"/>
          </ac:spMkLst>
        </pc:spChg>
        <pc:spChg chg="add mod">
          <ac:chgData name="Thompson, Neil" userId="666b3560-10c6-47c6-810b-0f5c9f3d8792" providerId="ADAL" clId="{97F2CE2F-51CF-49C4-8166-5295EBE78925}" dt="2024-11-03T18:48:59.393" v="860" actId="1076"/>
          <ac:spMkLst>
            <pc:docMk/>
            <pc:sldMk cId="4194139757" sldId="2126987314"/>
            <ac:spMk id="21" creationId="{66DE1CF4-604D-82B4-E296-17DC1C5E5154}"/>
          </ac:spMkLst>
        </pc:spChg>
        <pc:spChg chg="add mod">
          <ac:chgData name="Thompson, Neil" userId="666b3560-10c6-47c6-810b-0f5c9f3d8792" providerId="ADAL" clId="{97F2CE2F-51CF-49C4-8166-5295EBE78925}" dt="2024-11-03T18:47:45.771" v="849"/>
          <ac:spMkLst>
            <pc:docMk/>
            <pc:sldMk cId="4194139757" sldId="2126987314"/>
            <ac:spMk id="22" creationId="{1A93E1CE-D119-1677-52A4-BC1A3BCE0D09}"/>
          </ac:spMkLst>
        </pc:spChg>
        <pc:spChg chg="add del mod">
          <ac:chgData name="Thompson, Neil" userId="666b3560-10c6-47c6-810b-0f5c9f3d8792" providerId="ADAL" clId="{97F2CE2F-51CF-49C4-8166-5295EBE78925}" dt="2024-11-03T18:46:55.931" v="838" actId="478"/>
          <ac:spMkLst>
            <pc:docMk/>
            <pc:sldMk cId="4194139757" sldId="2126987314"/>
            <ac:spMk id="23" creationId="{59885E3A-C609-C614-F4F5-771CB032228A}"/>
          </ac:spMkLst>
        </pc:spChg>
        <pc:spChg chg="add mod">
          <ac:chgData name="Thompson, Neil" userId="666b3560-10c6-47c6-810b-0f5c9f3d8792" providerId="ADAL" clId="{97F2CE2F-51CF-49C4-8166-5295EBE78925}" dt="2024-11-03T18:46:49.554" v="834"/>
          <ac:spMkLst>
            <pc:docMk/>
            <pc:sldMk cId="4194139757" sldId="2126987314"/>
            <ac:spMk id="24" creationId="{076FD67F-AFEC-4728-CE77-02D4F7D6B804}"/>
          </ac:spMkLst>
        </pc:spChg>
        <pc:spChg chg="add mod">
          <ac:chgData name="Thompson, Neil" userId="666b3560-10c6-47c6-810b-0f5c9f3d8792" providerId="ADAL" clId="{97F2CE2F-51CF-49C4-8166-5295EBE78925}" dt="2024-11-03T18:47:03.535" v="841" actId="14100"/>
          <ac:spMkLst>
            <pc:docMk/>
            <pc:sldMk cId="4194139757" sldId="2126987314"/>
            <ac:spMk id="25" creationId="{82D5190A-3650-2392-BFDA-B4DFCD30EC78}"/>
          </ac:spMkLst>
        </pc:spChg>
        <pc:spChg chg="add del mod">
          <ac:chgData name="Thompson, Neil" userId="666b3560-10c6-47c6-810b-0f5c9f3d8792" providerId="ADAL" clId="{97F2CE2F-51CF-49C4-8166-5295EBE78925}" dt="2024-11-03T18:46:58.395" v="839" actId="478"/>
          <ac:spMkLst>
            <pc:docMk/>
            <pc:sldMk cId="4194139757" sldId="2126987314"/>
            <ac:spMk id="27" creationId="{20D4269C-3176-0FFB-DA4F-B1DCFF4B9D82}"/>
          </ac:spMkLst>
        </pc:spChg>
        <pc:spChg chg="add mod">
          <ac:chgData name="Thompson, Neil" userId="666b3560-10c6-47c6-810b-0f5c9f3d8792" providerId="ADAL" clId="{97F2CE2F-51CF-49C4-8166-5295EBE78925}" dt="2024-11-03T18:47:18.288" v="844" actId="571"/>
          <ac:spMkLst>
            <pc:docMk/>
            <pc:sldMk cId="4194139757" sldId="2126987314"/>
            <ac:spMk id="28" creationId="{DC7906D3-80AA-B997-0E6C-329878F2F11A}"/>
          </ac:spMkLst>
        </pc:spChg>
        <pc:spChg chg="add del">
          <ac:chgData name="Thompson, Neil" userId="666b3560-10c6-47c6-810b-0f5c9f3d8792" providerId="ADAL" clId="{97F2CE2F-51CF-49C4-8166-5295EBE78925}" dt="2024-11-03T18:48:54.903" v="858" actId="22"/>
          <ac:spMkLst>
            <pc:docMk/>
            <pc:sldMk cId="4194139757" sldId="2126987314"/>
            <ac:spMk id="30" creationId="{C4825FA5-F036-0419-03C4-45C882BF8494}"/>
          </ac:spMkLst>
        </pc:spChg>
        <pc:spChg chg="add mod">
          <ac:chgData name="Thompson, Neil" userId="666b3560-10c6-47c6-810b-0f5c9f3d8792" providerId="ADAL" clId="{97F2CE2F-51CF-49C4-8166-5295EBE78925}" dt="2024-11-03T18:48:54.479" v="857" actId="571"/>
          <ac:spMkLst>
            <pc:docMk/>
            <pc:sldMk cId="4194139757" sldId="2126987314"/>
            <ac:spMk id="31" creationId="{A6510918-4050-C4AF-2F78-9612C8F9213F}"/>
          </ac:spMkLst>
        </pc:spChg>
        <pc:spChg chg="add mod">
          <ac:chgData name="Thompson, Neil" userId="666b3560-10c6-47c6-810b-0f5c9f3d8792" providerId="ADAL" clId="{97F2CE2F-51CF-49C4-8166-5295EBE78925}" dt="2024-11-03T18:49:07.464" v="862"/>
          <ac:spMkLst>
            <pc:docMk/>
            <pc:sldMk cId="4194139757" sldId="2126987314"/>
            <ac:spMk id="32" creationId="{0BD4C6E7-107E-1A0A-661F-46210EFA7764}"/>
          </ac:spMkLst>
        </pc:spChg>
      </pc:sldChg>
      <pc:sldChg chg="addSp delSp modSp new del mod modClrScheme chgLayout">
        <pc:chgData name="Thompson, Neil" userId="666b3560-10c6-47c6-810b-0f5c9f3d8792" providerId="ADAL" clId="{97F2CE2F-51CF-49C4-8166-5295EBE78925}" dt="2024-11-03T19:30:46.401" v="1429" actId="47"/>
        <pc:sldMkLst>
          <pc:docMk/>
          <pc:sldMk cId="3400041502" sldId="2126987315"/>
        </pc:sldMkLst>
        <pc:spChg chg="del mod ord">
          <ac:chgData name="Thompson, Neil" userId="666b3560-10c6-47c6-810b-0f5c9f3d8792" providerId="ADAL" clId="{97F2CE2F-51CF-49C4-8166-5295EBE78925}" dt="2024-11-03T18:28:01.616" v="728" actId="700"/>
          <ac:spMkLst>
            <pc:docMk/>
            <pc:sldMk cId="3400041502" sldId="2126987315"/>
            <ac:spMk id="2" creationId="{1F9511B4-8A89-1414-E954-2D8E1E7DA2AE}"/>
          </ac:spMkLst>
        </pc:spChg>
        <pc:spChg chg="del mod ord">
          <ac:chgData name="Thompson, Neil" userId="666b3560-10c6-47c6-810b-0f5c9f3d8792" providerId="ADAL" clId="{97F2CE2F-51CF-49C4-8166-5295EBE78925}" dt="2024-11-03T18:28:01.616" v="728" actId="700"/>
          <ac:spMkLst>
            <pc:docMk/>
            <pc:sldMk cId="3400041502" sldId="2126987315"/>
            <ac:spMk id="3" creationId="{A98E8537-5EC0-318B-8F1F-20872CEFD6E0}"/>
          </ac:spMkLst>
        </pc:spChg>
        <pc:spChg chg="mod ord">
          <ac:chgData name="Thompson, Neil" userId="666b3560-10c6-47c6-810b-0f5c9f3d8792" providerId="ADAL" clId="{97F2CE2F-51CF-49C4-8166-5295EBE78925}" dt="2024-11-03T18:28:20.262" v="729" actId="700"/>
          <ac:spMkLst>
            <pc:docMk/>
            <pc:sldMk cId="3400041502" sldId="2126987315"/>
            <ac:spMk id="4" creationId="{B3766829-7BE7-B908-978A-8EF3C775C32E}"/>
          </ac:spMkLst>
        </pc:spChg>
        <pc:spChg chg="mod ord">
          <ac:chgData name="Thompson, Neil" userId="666b3560-10c6-47c6-810b-0f5c9f3d8792" providerId="ADAL" clId="{97F2CE2F-51CF-49C4-8166-5295EBE78925}" dt="2024-11-03T18:28:20.262" v="729" actId="700"/>
          <ac:spMkLst>
            <pc:docMk/>
            <pc:sldMk cId="3400041502" sldId="2126987315"/>
            <ac:spMk id="5" creationId="{4F3F55E6-FEB9-1736-027D-CA5CA54485BB}"/>
          </ac:spMkLst>
        </pc:spChg>
        <pc:spChg chg="mod ord">
          <ac:chgData name="Thompson, Neil" userId="666b3560-10c6-47c6-810b-0f5c9f3d8792" providerId="ADAL" clId="{97F2CE2F-51CF-49C4-8166-5295EBE78925}" dt="2024-11-03T18:28:20.262" v="729" actId="700"/>
          <ac:spMkLst>
            <pc:docMk/>
            <pc:sldMk cId="3400041502" sldId="2126987315"/>
            <ac:spMk id="6" creationId="{D5BAC83A-53AD-8E44-CA02-F452E32922B5}"/>
          </ac:spMkLst>
        </pc:spChg>
        <pc:spChg chg="del mod ord">
          <ac:chgData name="Thompson, Neil" userId="666b3560-10c6-47c6-810b-0f5c9f3d8792" providerId="ADAL" clId="{97F2CE2F-51CF-49C4-8166-5295EBE78925}" dt="2024-11-03T18:28:01.616" v="728" actId="700"/>
          <ac:spMkLst>
            <pc:docMk/>
            <pc:sldMk cId="3400041502" sldId="2126987315"/>
            <ac:spMk id="7" creationId="{E1DCB585-6133-5FB8-3229-A3AC5A9AE6BD}"/>
          </ac:spMkLst>
        </pc:spChg>
        <pc:spChg chg="add del mod ord">
          <ac:chgData name="Thompson, Neil" userId="666b3560-10c6-47c6-810b-0f5c9f3d8792" providerId="ADAL" clId="{97F2CE2F-51CF-49C4-8166-5295EBE78925}" dt="2024-11-03T18:28:20.262" v="729" actId="700"/>
          <ac:spMkLst>
            <pc:docMk/>
            <pc:sldMk cId="3400041502" sldId="2126987315"/>
            <ac:spMk id="8" creationId="{DC24FF89-0F39-7693-CCF6-53A06C680203}"/>
          </ac:spMkLst>
        </pc:spChg>
        <pc:spChg chg="add del mod ord">
          <ac:chgData name="Thompson, Neil" userId="666b3560-10c6-47c6-810b-0f5c9f3d8792" providerId="ADAL" clId="{97F2CE2F-51CF-49C4-8166-5295EBE78925}" dt="2024-11-03T18:28:20.262" v="729" actId="700"/>
          <ac:spMkLst>
            <pc:docMk/>
            <pc:sldMk cId="3400041502" sldId="2126987315"/>
            <ac:spMk id="9" creationId="{A62C4304-5482-D99B-5990-EC95FC9BD5F5}"/>
          </ac:spMkLst>
        </pc:spChg>
        <pc:spChg chg="add del mod ord">
          <ac:chgData name="Thompson, Neil" userId="666b3560-10c6-47c6-810b-0f5c9f3d8792" providerId="ADAL" clId="{97F2CE2F-51CF-49C4-8166-5295EBE78925}" dt="2024-11-03T18:28:20.262" v="729" actId="700"/>
          <ac:spMkLst>
            <pc:docMk/>
            <pc:sldMk cId="3400041502" sldId="2126987315"/>
            <ac:spMk id="10" creationId="{A391637A-AA4A-A7C2-D903-59D03EC6A0D9}"/>
          </ac:spMkLst>
        </pc:spChg>
        <pc:spChg chg="add del mod ord">
          <ac:chgData name="Thompson, Neil" userId="666b3560-10c6-47c6-810b-0f5c9f3d8792" providerId="ADAL" clId="{97F2CE2F-51CF-49C4-8166-5295EBE78925}" dt="2024-11-03T18:28:20.262" v="729" actId="700"/>
          <ac:spMkLst>
            <pc:docMk/>
            <pc:sldMk cId="3400041502" sldId="2126987315"/>
            <ac:spMk id="11" creationId="{969529C6-FEA1-BC07-2491-0B51A319B889}"/>
          </ac:spMkLst>
        </pc:spChg>
        <pc:spChg chg="add del mod ord">
          <ac:chgData name="Thompson, Neil" userId="666b3560-10c6-47c6-810b-0f5c9f3d8792" providerId="ADAL" clId="{97F2CE2F-51CF-49C4-8166-5295EBE78925}" dt="2024-11-03T18:28:20.262" v="729" actId="700"/>
          <ac:spMkLst>
            <pc:docMk/>
            <pc:sldMk cId="3400041502" sldId="2126987315"/>
            <ac:spMk id="12" creationId="{3CEB2300-DABC-159A-88B8-0E8626C95FD9}"/>
          </ac:spMkLst>
        </pc:spChg>
        <pc:spChg chg="add del mod ord">
          <ac:chgData name="Thompson, Neil" userId="666b3560-10c6-47c6-810b-0f5c9f3d8792" providerId="ADAL" clId="{97F2CE2F-51CF-49C4-8166-5295EBE78925}" dt="2024-11-03T18:28:20.262" v="729" actId="700"/>
          <ac:spMkLst>
            <pc:docMk/>
            <pc:sldMk cId="3400041502" sldId="2126987315"/>
            <ac:spMk id="13" creationId="{B060F2A9-2F86-5CB2-1B09-BE2CE359D05C}"/>
          </ac:spMkLst>
        </pc:spChg>
        <pc:spChg chg="add del mod ord">
          <ac:chgData name="Thompson, Neil" userId="666b3560-10c6-47c6-810b-0f5c9f3d8792" providerId="ADAL" clId="{97F2CE2F-51CF-49C4-8166-5295EBE78925}" dt="2024-11-03T18:28:20.262" v="729" actId="700"/>
          <ac:spMkLst>
            <pc:docMk/>
            <pc:sldMk cId="3400041502" sldId="2126987315"/>
            <ac:spMk id="14" creationId="{A39EF5E7-2601-32DF-0996-31356AD99AC6}"/>
          </ac:spMkLst>
        </pc:spChg>
        <pc:spChg chg="add del mod ord">
          <ac:chgData name="Thompson, Neil" userId="666b3560-10c6-47c6-810b-0f5c9f3d8792" providerId="ADAL" clId="{97F2CE2F-51CF-49C4-8166-5295EBE78925}" dt="2024-11-03T18:28:20.262" v="729" actId="700"/>
          <ac:spMkLst>
            <pc:docMk/>
            <pc:sldMk cId="3400041502" sldId="2126987315"/>
            <ac:spMk id="15" creationId="{84F95D0C-7E67-A1CF-D1A7-636BA19D1B7C}"/>
          </ac:spMkLst>
        </pc:spChg>
        <pc:spChg chg="add del mod ord">
          <ac:chgData name="Thompson, Neil" userId="666b3560-10c6-47c6-810b-0f5c9f3d8792" providerId="ADAL" clId="{97F2CE2F-51CF-49C4-8166-5295EBE78925}" dt="2024-11-03T18:28:20.262" v="729" actId="700"/>
          <ac:spMkLst>
            <pc:docMk/>
            <pc:sldMk cId="3400041502" sldId="2126987315"/>
            <ac:spMk id="16" creationId="{3E10BD58-C69B-A713-FE98-D58CE886C627}"/>
          </ac:spMkLst>
        </pc:spChg>
        <pc:spChg chg="add del mod ord">
          <ac:chgData name="Thompson, Neil" userId="666b3560-10c6-47c6-810b-0f5c9f3d8792" providerId="ADAL" clId="{97F2CE2F-51CF-49C4-8166-5295EBE78925}" dt="2024-11-03T18:28:20.262" v="729" actId="700"/>
          <ac:spMkLst>
            <pc:docMk/>
            <pc:sldMk cId="3400041502" sldId="2126987315"/>
            <ac:spMk id="17" creationId="{D249C029-BA79-B9B5-A871-A6C1AFBE6509}"/>
          </ac:spMkLst>
        </pc:spChg>
        <pc:spChg chg="add del mod ord">
          <ac:chgData name="Thompson, Neil" userId="666b3560-10c6-47c6-810b-0f5c9f3d8792" providerId="ADAL" clId="{97F2CE2F-51CF-49C4-8166-5295EBE78925}" dt="2024-11-03T18:28:20.262" v="729" actId="700"/>
          <ac:spMkLst>
            <pc:docMk/>
            <pc:sldMk cId="3400041502" sldId="2126987315"/>
            <ac:spMk id="18" creationId="{D55AF81D-01A8-4FFA-9DA7-25202C0DB13C}"/>
          </ac:spMkLst>
        </pc:spChg>
        <pc:spChg chg="add del mod ord">
          <ac:chgData name="Thompson, Neil" userId="666b3560-10c6-47c6-810b-0f5c9f3d8792" providerId="ADAL" clId="{97F2CE2F-51CF-49C4-8166-5295EBE78925}" dt="2024-11-03T18:28:20.262" v="729" actId="700"/>
          <ac:spMkLst>
            <pc:docMk/>
            <pc:sldMk cId="3400041502" sldId="2126987315"/>
            <ac:spMk id="19" creationId="{592A49B4-CEC7-4B6F-D172-2DCFB9BBC8AF}"/>
          </ac:spMkLst>
        </pc:spChg>
        <pc:spChg chg="add mod ord">
          <ac:chgData name="Thompson, Neil" userId="666b3560-10c6-47c6-810b-0f5c9f3d8792" providerId="ADAL" clId="{97F2CE2F-51CF-49C4-8166-5295EBE78925}" dt="2024-11-03T18:28:26.165" v="738" actId="20577"/>
          <ac:spMkLst>
            <pc:docMk/>
            <pc:sldMk cId="3400041502" sldId="2126987315"/>
            <ac:spMk id="20" creationId="{B3B53652-B3B9-A6E5-672F-740F8BFE127E}"/>
          </ac:spMkLst>
        </pc:spChg>
        <pc:spChg chg="add mod">
          <ac:chgData name="Thompson, Neil" userId="666b3560-10c6-47c6-810b-0f5c9f3d8792" providerId="ADAL" clId="{97F2CE2F-51CF-49C4-8166-5295EBE78925}" dt="2024-11-03T18:28:44.258" v="744" actId="20577"/>
          <ac:spMkLst>
            <pc:docMk/>
            <pc:sldMk cId="3400041502" sldId="2126987315"/>
            <ac:spMk id="21" creationId="{87CF63F1-D088-7B01-4068-73BF2B9C4828}"/>
          </ac:spMkLst>
        </pc:spChg>
      </pc:sldChg>
      <pc:sldChg chg="addSp delSp modSp add del mod modClrScheme chgLayout">
        <pc:chgData name="Thompson, Neil" userId="666b3560-10c6-47c6-810b-0f5c9f3d8792" providerId="ADAL" clId="{97F2CE2F-51CF-49C4-8166-5295EBE78925}" dt="2024-11-03T18:40:44.618" v="808" actId="2696"/>
        <pc:sldMkLst>
          <pc:docMk/>
          <pc:sldMk cId="1971205495" sldId="2126987316"/>
        </pc:sldMkLst>
        <pc:spChg chg="mod ord">
          <ac:chgData name="Thompson, Neil" userId="666b3560-10c6-47c6-810b-0f5c9f3d8792" providerId="ADAL" clId="{97F2CE2F-51CF-49C4-8166-5295EBE78925}" dt="2024-11-03T18:35:16.874" v="772" actId="700"/>
          <ac:spMkLst>
            <pc:docMk/>
            <pc:sldMk cId="1971205495" sldId="2126987316"/>
            <ac:spMk id="2" creationId="{CEA5C694-5E8C-0938-98FF-BC3FF5333F82}"/>
          </ac:spMkLst>
        </pc:spChg>
        <pc:spChg chg="add del mod ord">
          <ac:chgData name="Thompson, Neil" userId="666b3560-10c6-47c6-810b-0f5c9f3d8792" providerId="ADAL" clId="{97F2CE2F-51CF-49C4-8166-5295EBE78925}" dt="2024-11-03T18:33:47.520" v="762" actId="700"/>
          <ac:spMkLst>
            <pc:docMk/>
            <pc:sldMk cId="1971205495" sldId="2126987316"/>
            <ac:spMk id="3" creationId="{E5038C68-DE93-F0CF-C476-AE940BC8559A}"/>
          </ac:spMkLst>
        </pc:spChg>
        <pc:spChg chg="add del mod ord">
          <ac:chgData name="Thompson, Neil" userId="666b3560-10c6-47c6-810b-0f5c9f3d8792" providerId="ADAL" clId="{97F2CE2F-51CF-49C4-8166-5295EBE78925}" dt="2024-11-03T18:33:47.520" v="762" actId="700"/>
          <ac:spMkLst>
            <pc:docMk/>
            <pc:sldMk cId="1971205495" sldId="2126987316"/>
            <ac:spMk id="4" creationId="{8CA3E3AE-0A16-6B8D-E3F5-28A7B09DFAEE}"/>
          </ac:spMkLst>
        </pc:spChg>
        <pc:spChg chg="add del mod ord">
          <ac:chgData name="Thompson, Neil" userId="666b3560-10c6-47c6-810b-0f5c9f3d8792" providerId="ADAL" clId="{97F2CE2F-51CF-49C4-8166-5295EBE78925}" dt="2024-11-03T18:33:47.520" v="762" actId="700"/>
          <ac:spMkLst>
            <pc:docMk/>
            <pc:sldMk cId="1971205495" sldId="2126987316"/>
            <ac:spMk id="5" creationId="{C512552B-3942-A288-E612-46DEBE80988F}"/>
          </ac:spMkLst>
        </pc:spChg>
        <pc:spChg chg="mod ord">
          <ac:chgData name="Thompson, Neil" userId="666b3560-10c6-47c6-810b-0f5c9f3d8792" providerId="ADAL" clId="{97F2CE2F-51CF-49C4-8166-5295EBE78925}" dt="2024-11-03T18:35:16.874" v="772" actId="700"/>
          <ac:spMkLst>
            <pc:docMk/>
            <pc:sldMk cId="1971205495" sldId="2126987316"/>
            <ac:spMk id="6" creationId="{0203F4C0-5CCA-E1B1-D636-0D1C3D95116B}"/>
          </ac:spMkLst>
        </pc:spChg>
        <pc:spChg chg="add del mod ord">
          <ac:chgData name="Thompson, Neil" userId="666b3560-10c6-47c6-810b-0f5c9f3d8792" providerId="ADAL" clId="{97F2CE2F-51CF-49C4-8166-5295EBE78925}" dt="2024-11-03T18:34:06.053" v="763" actId="700"/>
          <ac:spMkLst>
            <pc:docMk/>
            <pc:sldMk cId="1971205495" sldId="2126987316"/>
            <ac:spMk id="7" creationId="{CF4192D2-3037-0FAD-5E5D-83325833214A}"/>
          </ac:spMkLst>
        </pc:spChg>
        <pc:spChg chg="add del mod ord">
          <ac:chgData name="Thompson, Neil" userId="666b3560-10c6-47c6-810b-0f5c9f3d8792" providerId="ADAL" clId="{97F2CE2F-51CF-49C4-8166-5295EBE78925}" dt="2024-11-03T18:34:06.053" v="763" actId="700"/>
          <ac:spMkLst>
            <pc:docMk/>
            <pc:sldMk cId="1971205495" sldId="2126987316"/>
            <ac:spMk id="8" creationId="{E80CF4E5-DF45-99B2-A6B7-F89CBA9120A0}"/>
          </ac:spMkLst>
        </pc:spChg>
        <pc:spChg chg="add del mod ord">
          <ac:chgData name="Thompson, Neil" userId="666b3560-10c6-47c6-810b-0f5c9f3d8792" providerId="ADAL" clId="{97F2CE2F-51CF-49C4-8166-5295EBE78925}" dt="2024-11-03T18:34:06.053" v="763" actId="700"/>
          <ac:spMkLst>
            <pc:docMk/>
            <pc:sldMk cId="1971205495" sldId="2126987316"/>
            <ac:spMk id="9" creationId="{5B5AA50E-8796-8132-5060-C8948BFBE105}"/>
          </ac:spMkLst>
        </pc:spChg>
        <pc:spChg chg="add del mod ord">
          <ac:chgData name="Thompson, Neil" userId="666b3560-10c6-47c6-810b-0f5c9f3d8792" providerId="ADAL" clId="{97F2CE2F-51CF-49C4-8166-5295EBE78925}" dt="2024-11-03T18:34:06.053" v="763" actId="700"/>
          <ac:spMkLst>
            <pc:docMk/>
            <pc:sldMk cId="1971205495" sldId="2126987316"/>
            <ac:spMk id="10" creationId="{1027C724-A0B9-EB3F-75CB-28EFF95A2E07}"/>
          </ac:spMkLst>
        </pc:spChg>
        <pc:spChg chg="add del mod ord">
          <ac:chgData name="Thompson, Neil" userId="666b3560-10c6-47c6-810b-0f5c9f3d8792" providerId="ADAL" clId="{97F2CE2F-51CF-49C4-8166-5295EBE78925}" dt="2024-11-03T18:34:06.053" v="763" actId="700"/>
          <ac:spMkLst>
            <pc:docMk/>
            <pc:sldMk cId="1971205495" sldId="2126987316"/>
            <ac:spMk id="11" creationId="{739ACA6A-FC09-B38F-059C-701916F7323E}"/>
          </ac:spMkLst>
        </pc:spChg>
        <pc:spChg chg="add del mod ord">
          <ac:chgData name="Thompson, Neil" userId="666b3560-10c6-47c6-810b-0f5c9f3d8792" providerId="ADAL" clId="{97F2CE2F-51CF-49C4-8166-5295EBE78925}" dt="2024-11-03T18:34:06.053" v="763" actId="700"/>
          <ac:spMkLst>
            <pc:docMk/>
            <pc:sldMk cId="1971205495" sldId="2126987316"/>
            <ac:spMk id="12" creationId="{17804FF3-6B8B-226F-DCC0-8ECE22BF885D}"/>
          </ac:spMkLst>
        </pc:spChg>
        <pc:spChg chg="add del mod ord">
          <ac:chgData name="Thompson, Neil" userId="666b3560-10c6-47c6-810b-0f5c9f3d8792" providerId="ADAL" clId="{97F2CE2F-51CF-49C4-8166-5295EBE78925}" dt="2024-11-03T18:34:06.053" v="763" actId="700"/>
          <ac:spMkLst>
            <pc:docMk/>
            <pc:sldMk cId="1971205495" sldId="2126987316"/>
            <ac:spMk id="13" creationId="{C68F4F67-355E-7A0A-5111-D4A036FD472C}"/>
          </ac:spMkLst>
        </pc:spChg>
        <pc:spChg chg="add del mod ord">
          <ac:chgData name="Thompson, Neil" userId="666b3560-10c6-47c6-810b-0f5c9f3d8792" providerId="ADAL" clId="{97F2CE2F-51CF-49C4-8166-5295EBE78925}" dt="2024-11-03T18:34:06.053" v="763" actId="700"/>
          <ac:spMkLst>
            <pc:docMk/>
            <pc:sldMk cId="1971205495" sldId="2126987316"/>
            <ac:spMk id="14" creationId="{55968C92-14E9-F7E2-0B4C-A102430C4406}"/>
          </ac:spMkLst>
        </pc:spChg>
        <pc:spChg chg="add del mod ord">
          <ac:chgData name="Thompson, Neil" userId="666b3560-10c6-47c6-810b-0f5c9f3d8792" providerId="ADAL" clId="{97F2CE2F-51CF-49C4-8166-5295EBE78925}" dt="2024-11-03T18:34:06.053" v="763" actId="700"/>
          <ac:spMkLst>
            <pc:docMk/>
            <pc:sldMk cId="1971205495" sldId="2126987316"/>
            <ac:spMk id="15" creationId="{DB1B0D4D-18DC-91C2-7323-5BA23187BDC0}"/>
          </ac:spMkLst>
        </pc:spChg>
        <pc:spChg chg="add del mod ord">
          <ac:chgData name="Thompson, Neil" userId="666b3560-10c6-47c6-810b-0f5c9f3d8792" providerId="ADAL" clId="{97F2CE2F-51CF-49C4-8166-5295EBE78925}" dt="2024-11-03T18:34:25.198" v="769" actId="478"/>
          <ac:spMkLst>
            <pc:docMk/>
            <pc:sldMk cId="1971205495" sldId="2126987316"/>
            <ac:spMk id="16" creationId="{99A5DA2E-DCC9-79E9-2AAD-79EA4B83C72A}"/>
          </ac:spMkLst>
        </pc:spChg>
        <pc:spChg chg="add del mod ord">
          <ac:chgData name="Thompson, Neil" userId="666b3560-10c6-47c6-810b-0f5c9f3d8792" providerId="ADAL" clId="{97F2CE2F-51CF-49C4-8166-5295EBE78925}" dt="2024-11-03T18:35:16.874" v="772" actId="700"/>
          <ac:spMkLst>
            <pc:docMk/>
            <pc:sldMk cId="1971205495" sldId="2126987316"/>
            <ac:spMk id="17" creationId="{BAF937B3-FB84-E5DA-8DFB-828B447A1552}"/>
          </ac:spMkLst>
        </pc:spChg>
        <pc:spChg chg="add mod ord">
          <ac:chgData name="Thompson, Neil" userId="666b3560-10c6-47c6-810b-0f5c9f3d8792" providerId="ADAL" clId="{97F2CE2F-51CF-49C4-8166-5295EBE78925}" dt="2024-11-03T18:35:16.874" v="772" actId="700"/>
          <ac:spMkLst>
            <pc:docMk/>
            <pc:sldMk cId="1971205495" sldId="2126987316"/>
            <ac:spMk id="18" creationId="{9626A895-91D2-FB78-2DED-5FE8E8D153BE}"/>
          </ac:spMkLst>
        </pc:spChg>
        <pc:spChg chg="add mod ord">
          <ac:chgData name="Thompson, Neil" userId="666b3560-10c6-47c6-810b-0f5c9f3d8792" providerId="ADAL" clId="{97F2CE2F-51CF-49C4-8166-5295EBE78925}" dt="2024-11-03T18:35:16.874" v="772" actId="700"/>
          <ac:spMkLst>
            <pc:docMk/>
            <pc:sldMk cId="1971205495" sldId="2126987316"/>
            <ac:spMk id="19" creationId="{4CE9363B-43EC-E1E7-6CB4-D89D470E9AF0}"/>
          </ac:spMkLst>
        </pc:spChg>
        <pc:spChg chg="add mod ord">
          <ac:chgData name="Thompson, Neil" userId="666b3560-10c6-47c6-810b-0f5c9f3d8792" providerId="ADAL" clId="{97F2CE2F-51CF-49C4-8166-5295EBE78925}" dt="2024-11-03T18:35:16.874" v="772" actId="700"/>
          <ac:spMkLst>
            <pc:docMk/>
            <pc:sldMk cId="1971205495" sldId="2126987316"/>
            <ac:spMk id="20" creationId="{CAA4BA7C-88F5-35F2-7212-7B59BAC8F935}"/>
          </ac:spMkLst>
        </pc:spChg>
        <pc:spChg chg="add mod ord">
          <ac:chgData name="Thompson, Neil" userId="666b3560-10c6-47c6-810b-0f5c9f3d8792" providerId="ADAL" clId="{97F2CE2F-51CF-49C4-8166-5295EBE78925}" dt="2024-11-03T18:35:16.874" v="772" actId="700"/>
          <ac:spMkLst>
            <pc:docMk/>
            <pc:sldMk cId="1971205495" sldId="2126987316"/>
            <ac:spMk id="21" creationId="{A390F091-7D90-08DF-0908-EF35FA34596E}"/>
          </ac:spMkLst>
        </pc:spChg>
        <pc:spChg chg="add mod ord">
          <ac:chgData name="Thompson, Neil" userId="666b3560-10c6-47c6-810b-0f5c9f3d8792" providerId="ADAL" clId="{97F2CE2F-51CF-49C4-8166-5295EBE78925}" dt="2024-11-03T18:35:16.874" v="772" actId="700"/>
          <ac:spMkLst>
            <pc:docMk/>
            <pc:sldMk cId="1971205495" sldId="2126987316"/>
            <ac:spMk id="22" creationId="{3071E00E-F151-8F45-64A0-266DDEC8E956}"/>
          </ac:spMkLst>
        </pc:spChg>
        <pc:spChg chg="add mod ord">
          <ac:chgData name="Thompson, Neil" userId="666b3560-10c6-47c6-810b-0f5c9f3d8792" providerId="ADAL" clId="{97F2CE2F-51CF-49C4-8166-5295EBE78925}" dt="2024-11-03T18:35:16.874" v="772" actId="700"/>
          <ac:spMkLst>
            <pc:docMk/>
            <pc:sldMk cId="1971205495" sldId="2126987316"/>
            <ac:spMk id="23" creationId="{661D23CD-D132-F44F-09C9-D64017258366}"/>
          </ac:spMkLst>
        </pc:spChg>
      </pc:sldChg>
      <pc:sldChg chg="addSp delSp modSp new del mod modClrScheme chgLayout modNotesTx">
        <pc:chgData name="Thompson, Neil" userId="666b3560-10c6-47c6-810b-0f5c9f3d8792" providerId="ADAL" clId="{97F2CE2F-51CF-49C4-8166-5295EBE78925}" dt="2024-11-11T20:30:23.399" v="3016" actId="47"/>
        <pc:sldMkLst>
          <pc:docMk/>
          <pc:sldMk cId="2073442923" sldId="2126987316"/>
        </pc:sldMkLst>
        <pc:spChg chg="del mod ord">
          <ac:chgData name="Thompson, Neil" userId="666b3560-10c6-47c6-810b-0f5c9f3d8792" providerId="ADAL" clId="{97F2CE2F-51CF-49C4-8166-5295EBE78925}" dt="2024-11-03T18:55:49.504" v="886" actId="700"/>
          <ac:spMkLst>
            <pc:docMk/>
            <pc:sldMk cId="2073442923" sldId="2126987316"/>
            <ac:spMk id="2" creationId="{88F21280-8555-D1D2-006A-DF3209A6B64D}"/>
          </ac:spMkLst>
        </pc:spChg>
        <pc:spChg chg="del mod ord">
          <ac:chgData name="Thompson, Neil" userId="666b3560-10c6-47c6-810b-0f5c9f3d8792" providerId="ADAL" clId="{97F2CE2F-51CF-49C4-8166-5295EBE78925}" dt="2024-11-03T18:55:49.504" v="886" actId="700"/>
          <ac:spMkLst>
            <pc:docMk/>
            <pc:sldMk cId="2073442923" sldId="2126987316"/>
            <ac:spMk id="3" creationId="{392A07AA-0F74-2AE8-BE20-A4DB43A2CCA9}"/>
          </ac:spMkLst>
        </pc:spChg>
        <pc:spChg chg="del mod ord">
          <ac:chgData name="Thompson, Neil" userId="666b3560-10c6-47c6-810b-0f5c9f3d8792" providerId="ADAL" clId="{97F2CE2F-51CF-49C4-8166-5295EBE78925}" dt="2024-11-03T18:55:49.504" v="886" actId="700"/>
          <ac:spMkLst>
            <pc:docMk/>
            <pc:sldMk cId="2073442923" sldId="2126987316"/>
            <ac:spMk id="4" creationId="{A0F96CFF-1F12-6D22-115F-DDBEBC201BC1}"/>
          </ac:spMkLst>
        </pc:spChg>
        <pc:spChg chg="del mod ord">
          <ac:chgData name="Thompson, Neil" userId="666b3560-10c6-47c6-810b-0f5c9f3d8792" providerId="ADAL" clId="{97F2CE2F-51CF-49C4-8166-5295EBE78925}" dt="2024-11-03T18:56:35.272" v="895" actId="478"/>
          <ac:spMkLst>
            <pc:docMk/>
            <pc:sldMk cId="2073442923" sldId="2126987316"/>
            <ac:spMk id="5" creationId="{928BA9CB-48BE-9562-C109-E863F7D05088}"/>
          </ac:spMkLst>
        </pc:spChg>
        <pc:spChg chg="del mod ord">
          <ac:chgData name="Thompson, Neil" userId="666b3560-10c6-47c6-810b-0f5c9f3d8792" providerId="ADAL" clId="{97F2CE2F-51CF-49C4-8166-5295EBE78925}" dt="2024-11-03T18:56:32.883" v="894" actId="478"/>
          <ac:spMkLst>
            <pc:docMk/>
            <pc:sldMk cId="2073442923" sldId="2126987316"/>
            <ac:spMk id="6" creationId="{2674F39B-39AE-81E9-58C6-CCD337016A8E}"/>
          </ac:spMkLst>
        </pc:spChg>
        <pc:spChg chg="mod ord">
          <ac:chgData name="Thompson, Neil" userId="666b3560-10c6-47c6-810b-0f5c9f3d8792" providerId="ADAL" clId="{97F2CE2F-51CF-49C4-8166-5295EBE78925}" dt="2024-11-03T18:56:26.743" v="891" actId="1076"/>
          <ac:spMkLst>
            <pc:docMk/>
            <pc:sldMk cId="2073442923" sldId="2126987316"/>
            <ac:spMk id="7" creationId="{FADF8200-E42B-6605-B086-E05429915650}"/>
          </ac:spMkLst>
        </pc:spChg>
        <pc:spChg chg="del">
          <ac:chgData name="Thompson, Neil" userId="666b3560-10c6-47c6-810b-0f5c9f3d8792" providerId="ADAL" clId="{97F2CE2F-51CF-49C4-8166-5295EBE78925}" dt="2024-11-03T18:55:49.504" v="886" actId="700"/>
          <ac:spMkLst>
            <pc:docMk/>
            <pc:sldMk cId="2073442923" sldId="2126987316"/>
            <ac:spMk id="8" creationId="{418D342F-7130-1047-16F3-3C484AA5277E}"/>
          </ac:spMkLst>
        </pc:spChg>
        <pc:spChg chg="del mod ord">
          <ac:chgData name="Thompson, Neil" userId="666b3560-10c6-47c6-810b-0f5c9f3d8792" providerId="ADAL" clId="{97F2CE2F-51CF-49C4-8166-5295EBE78925}" dt="2024-11-03T18:55:49.504" v="886" actId="700"/>
          <ac:spMkLst>
            <pc:docMk/>
            <pc:sldMk cId="2073442923" sldId="2126987316"/>
            <ac:spMk id="9" creationId="{43B23A41-6E1E-4770-DC16-A8CB89506569}"/>
          </ac:spMkLst>
        </pc:spChg>
        <pc:spChg chg="del mod ord">
          <ac:chgData name="Thompson, Neil" userId="666b3560-10c6-47c6-810b-0f5c9f3d8792" providerId="ADAL" clId="{97F2CE2F-51CF-49C4-8166-5295EBE78925}" dt="2024-11-03T18:55:49.504" v="886" actId="700"/>
          <ac:spMkLst>
            <pc:docMk/>
            <pc:sldMk cId="2073442923" sldId="2126987316"/>
            <ac:spMk id="10" creationId="{49661FD2-B5B2-422D-B102-D5B73E18A3EF}"/>
          </ac:spMkLst>
        </pc:spChg>
        <pc:spChg chg="del mod ord">
          <ac:chgData name="Thompson, Neil" userId="666b3560-10c6-47c6-810b-0f5c9f3d8792" providerId="ADAL" clId="{97F2CE2F-51CF-49C4-8166-5295EBE78925}" dt="2024-11-03T18:55:49.504" v="886" actId="700"/>
          <ac:spMkLst>
            <pc:docMk/>
            <pc:sldMk cId="2073442923" sldId="2126987316"/>
            <ac:spMk id="11" creationId="{CDF9644C-A6F5-4A04-B3C5-D4A4071FE029}"/>
          </ac:spMkLst>
        </pc:spChg>
        <pc:spChg chg="del mod ord">
          <ac:chgData name="Thompson, Neil" userId="666b3560-10c6-47c6-810b-0f5c9f3d8792" providerId="ADAL" clId="{97F2CE2F-51CF-49C4-8166-5295EBE78925}" dt="2024-11-03T18:55:49.504" v="886" actId="700"/>
          <ac:spMkLst>
            <pc:docMk/>
            <pc:sldMk cId="2073442923" sldId="2126987316"/>
            <ac:spMk id="12" creationId="{9161B143-D8A7-DAEC-70AB-04DA75F3915D}"/>
          </ac:spMkLst>
        </pc:spChg>
        <pc:spChg chg="del">
          <ac:chgData name="Thompson, Neil" userId="666b3560-10c6-47c6-810b-0f5c9f3d8792" providerId="ADAL" clId="{97F2CE2F-51CF-49C4-8166-5295EBE78925}" dt="2024-11-03T18:55:49.504" v="886" actId="700"/>
          <ac:spMkLst>
            <pc:docMk/>
            <pc:sldMk cId="2073442923" sldId="2126987316"/>
            <ac:spMk id="13" creationId="{E2E8A526-2EA9-61C2-4014-1441AA0F0A58}"/>
          </ac:spMkLst>
        </pc:spChg>
        <pc:spChg chg="add del mod ord">
          <ac:chgData name="Thompson, Neil" userId="666b3560-10c6-47c6-810b-0f5c9f3d8792" providerId="ADAL" clId="{97F2CE2F-51CF-49C4-8166-5295EBE78925}" dt="2024-11-03T18:56:18.624" v="890"/>
          <ac:spMkLst>
            <pc:docMk/>
            <pc:sldMk cId="2073442923" sldId="2126987316"/>
            <ac:spMk id="14" creationId="{DB380CF6-9831-585E-6A8A-C805F1EB7BD2}"/>
          </ac:spMkLst>
        </pc:spChg>
        <pc:spChg chg="add del mod ord">
          <ac:chgData name="Thompson, Neil" userId="666b3560-10c6-47c6-810b-0f5c9f3d8792" providerId="ADAL" clId="{97F2CE2F-51CF-49C4-8166-5295EBE78925}" dt="2024-11-03T18:58:27.995" v="915" actId="20577"/>
          <ac:spMkLst>
            <pc:docMk/>
            <pc:sldMk cId="2073442923" sldId="2126987316"/>
            <ac:spMk id="15" creationId="{7608D3F5-C45A-A5BC-EF4B-A36E92B55A48}"/>
          </ac:spMkLst>
        </pc:spChg>
        <pc:spChg chg="add mod ord">
          <ac:chgData name="Thompson, Neil" userId="666b3560-10c6-47c6-810b-0f5c9f3d8792" providerId="ADAL" clId="{97F2CE2F-51CF-49C4-8166-5295EBE78925}" dt="2024-11-03T18:59:16.773" v="937"/>
          <ac:spMkLst>
            <pc:docMk/>
            <pc:sldMk cId="2073442923" sldId="2126987316"/>
            <ac:spMk id="16" creationId="{E06BC155-6EF1-2B08-7A21-170DD8ABE8D7}"/>
          </ac:spMkLst>
        </pc:spChg>
        <pc:spChg chg="add mod ord">
          <ac:chgData name="Thompson, Neil" userId="666b3560-10c6-47c6-810b-0f5c9f3d8792" providerId="ADAL" clId="{97F2CE2F-51CF-49C4-8166-5295EBE78925}" dt="2024-11-03T18:59:49.552" v="952"/>
          <ac:spMkLst>
            <pc:docMk/>
            <pc:sldMk cId="2073442923" sldId="2126987316"/>
            <ac:spMk id="17" creationId="{0A53589F-D75F-DA48-D8F6-41F937B61165}"/>
          </ac:spMkLst>
        </pc:spChg>
        <pc:spChg chg="add mod ord">
          <ac:chgData name="Thompson, Neil" userId="666b3560-10c6-47c6-810b-0f5c9f3d8792" providerId="ADAL" clId="{97F2CE2F-51CF-49C4-8166-5295EBE78925}" dt="2024-11-03T18:56:58.800" v="900" actId="113"/>
          <ac:spMkLst>
            <pc:docMk/>
            <pc:sldMk cId="2073442923" sldId="2126987316"/>
            <ac:spMk id="18" creationId="{6CB29EB6-8781-B10C-4DAA-11AA8218AEF3}"/>
          </ac:spMkLst>
        </pc:spChg>
        <pc:spChg chg="add mod ord">
          <ac:chgData name="Thompson, Neil" userId="666b3560-10c6-47c6-810b-0f5c9f3d8792" providerId="ADAL" clId="{97F2CE2F-51CF-49C4-8166-5295EBE78925}" dt="2024-11-03T18:56:57.212" v="899" actId="113"/>
          <ac:spMkLst>
            <pc:docMk/>
            <pc:sldMk cId="2073442923" sldId="2126987316"/>
            <ac:spMk id="19" creationId="{44A1A4DE-10D6-3DE4-3F02-9D8650B044A9}"/>
          </ac:spMkLst>
        </pc:spChg>
        <pc:spChg chg="add mod ord">
          <ac:chgData name="Thompson, Neil" userId="666b3560-10c6-47c6-810b-0f5c9f3d8792" providerId="ADAL" clId="{97F2CE2F-51CF-49C4-8166-5295EBE78925}" dt="2024-11-03T18:56:54.481" v="898"/>
          <ac:spMkLst>
            <pc:docMk/>
            <pc:sldMk cId="2073442923" sldId="2126987316"/>
            <ac:spMk id="20" creationId="{74AA6E84-76A4-61A1-37B9-1EDD242E76F6}"/>
          </ac:spMkLst>
        </pc:spChg>
        <pc:spChg chg="add mod">
          <ac:chgData name="Thompson, Neil" userId="666b3560-10c6-47c6-810b-0f5c9f3d8792" providerId="ADAL" clId="{97F2CE2F-51CF-49C4-8166-5295EBE78925}" dt="2024-11-03T18:56:02.813" v="887"/>
          <ac:spMkLst>
            <pc:docMk/>
            <pc:sldMk cId="2073442923" sldId="2126987316"/>
            <ac:spMk id="21" creationId="{475F0D28-B533-D3BC-A323-A79F274DBD60}"/>
          </ac:spMkLst>
        </pc:spChg>
        <pc:spChg chg="add mod">
          <ac:chgData name="Thompson, Neil" userId="666b3560-10c6-47c6-810b-0f5c9f3d8792" providerId="ADAL" clId="{97F2CE2F-51CF-49C4-8166-5295EBE78925}" dt="2024-11-03T18:57:07.387" v="902"/>
          <ac:spMkLst>
            <pc:docMk/>
            <pc:sldMk cId="2073442923" sldId="2126987316"/>
            <ac:spMk id="22" creationId="{258A8D4E-583F-3AA5-4632-CEFB1966CA95}"/>
          </ac:spMkLst>
        </pc:spChg>
        <pc:spChg chg="add mod">
          <ac:chgData name="Thompson, Neil" userId="666b3560-10c6-47c6-810b-0f5c9f3d8792" providerId="ADAL" clId="{97F2CE2F-51CF-49C4-8166-5295EBE78925}" dt="2024-11-03T19:30:13.303" v="1427" actId="1076"/>
          <ac:spMkLst>
            <pc:docMk/>
            <pc:sldMk cId="2073442923" sldId="2126987316"/>
            <ac:spMk id="24" creationId="{5E8DDABF-392F-DCB4-A734-1F6FC1324547}"/>
          </ac:spMkLst>
        </pc:spChg>
        <pc:picChg chg="add mod">
          <ac:chgData name="Thompson, Neil" userId="666b3560-10c6-47c6-810b-0f5c9f3d8792" providerId="ADAL" clId="{97F2CE2F-51CF-49C4-8166-5295EBE78925}" dt="2024-11-03T19:30:05.041" v="1426" actId="1076"/>
          <ac:picMkLst>
            <pc:docMk/>
            <pc:sldMk cId="2073442923" sldId="2126987316"/>
            <ac:picMk id="26" creationId="{6E2BE27D-88AB-264D-44D2-5438737C02C4}"/>
          </ac:picMkLst>
        </pc:picChg>
      </pc:sldChg>
      <pc:sldChg chg="new del">
        <pc:chgData name="Thompson, Neil" userId="666b3560-10c6-47c6-810b-0f5c9f3d8792" providerId="ADAL" clId="{97F2CE2F-51CF-49C4-8166-5295EBE78925}" dt="2024-11-03T18:50:42.791" v="865" actId="47"/>
        <pc:sldMkLst>
          <pc:docMk/>
          <pc:sldMk cId="2365943262" sldId="2126987316"/>
        </pc:sldMkLst>
      </pc:sldChg>
      <pc:sldChg chg="addSp delSp modSp new del mod modClrScheme chgLayout">
        <pc:chgData name="Thompson, Neil" userId="666b3560-10c6-47c6-810b-0f5c9f3d8792" providerId="ADAL" clId="{97F2CE2F-51CF-49C4-8166-5295EBE78925}" dt="2024-11-11T20:30:23.399" v="3016" actId="47"/>
        <pc:sldMkLst>
          <pc:docMk/>
          <pc:sldMk cId="1460348967" sldId="2126987317"/>
        </pc:sldMkLst>
        <pc:spChg chg="del mod ord">
          <ac:chgData name="Thompson, Neil" userId="666b3560-10c6-47c6-810b-0f5c9f3d8792" providerId="ADAL" clId="{97F2CE2F-51CF-49C4-8166-5295EBE78925}" dt="2024-11-03T19:01:04.607" v="956" actId="700"/>
          <ac:spMkLst>
            <pc:docMk/>
            <pc:sldMk cId="1460348967" sldId="2126987317"/>
            <ac:spMk id="2" creationId="{BB1E1F78-0CFE-B810-089A-E86714DB5133}"/>
          </ac:spMkLst>
        </pc:spChg>
        <pc:spChg chg="del mod ord">
          <ac:chgData name="Thompson, Neil" userId="666b3560-10c6-47c6-810b-0f5c9f3d8792" providerId="ADAL" clId="{97F2CE2F-51CF-49C4-8166-5295EBE78925}" dt="2024-11-03T19:01:04.607" v="956" actId="700"/>
          <ac:spMkLst>
            <pc:docMk/>
            <pc:sldMk cId="1460348967" sldId="2126987317"/>
            <ac:spMk id="3" creationId="{CC127544-CD07-3263-07D2-27EDC271EF4E}"/>
          </ac:spMkLst>
        </pc:spChg>
        <pc:spChg chg="del mod ord">
          <ac:chgData name="Thompson, Neil" userId="666b3560-10c6-47c6-810b-0f5c9f3d8792" providerId="ADAL" clId="{97F2CE2F-51CF-49C4-8166-5295EBE78925}" dt="2024-11-03T19:06:59.498" v="965" actId="478"/>
          <ac:spMkLst>
            <pc:docMk/>
            <pc:sldMk cId="1460348967" sldId="2126987317"/>
            <ac:spMk id="4" creationId="{3543282D-EE1E-A350-1F8E-621E85FE9EF0}"/>
          </ac:spMkLst>
        </pc:spChg>
        <pc:spChg chg="del mod ord">
          <ac:chgData name="Thompson, Neil" userId="666b3560-10c6-47c6-810b-0f5c9f3d8792" providerId="ADAL" clId="{97F2CE2F-51CF-49C4-8166-5295EBE78925}" dt="2024-11-03T19:07:03.092" v="967" actId="478"/>
          <ac:spMkLst>
            <pc:docMk/>
            <pc:sldMk cId="1460348967" sldId="2126987317"/>
            <ac:spMk id="5" creationId="{4D26C9AA-D0C9-9727-6E05-19610042FC96}"/>
          </ac:spMkLst>
        </pc:spChg>
        <pc:spChg chg="mod ord">
          <ac:chgData name="Thompson, Neil" userId="666b3560-10c6-47c6-810b-0f5c9f3d8792" providerId="ADAL" clId="{97F2CE2F-51CF-49C4-8166-5295EBE78925}" dt="2024-11-03T19:01:13.521" v="957" actId="700"/>
          <ac:spMkLst>
            <pc:docMk/>
            <pc:sldMk cId="1460348967" sldId="2126987317"/>
            <ac:spMk id="6" creationId="{28B57752-6847-B421-BE24-2E439AF5D222}"/>
          </ac:spMkLst>
        </pc:spChg>
        <pc:spChg chg="del mod ord">
          <ac:chgData name="Thompson, Neil" userId="666b3560-10c6-47c6-810b-0f5c9f3d8792" providerId="ADAL" clId="{97F2CE2F-51CF-49C4-8166-5295EBE78925}" dt="2024-11-03T19:01:04.607" v="956" actId="700"/>
          <ac:spMkLst>
            <pc:docMk/>
            <pc:sldMk cId="1460348967" sldId="2126987317"/>
            <ac:spMk id="7" creationId="{CC87D76A-7900-CA1C-F4BF-03C9F821D323}"/>
          </ac:spMkLst>
        </pc:spChg>
        <pc:spChg chg="del mod ord">
          <ac:chgData name="Thompson, Neil" userId="666b3560-10c6-47c6-810b-0f5c9f3d8792" providerId="ADAL" clId="{97F2CE2F-51CF-49C4-8166-5295EBE78925}" dt="2024-11-03T19:01:04.607" v="956" actId="700"/>
          <ac:spMkLst>
            <pc:docMk/>
            <pc:sldMk cId="1460348967" sldId="2126987317"/>
            <ac:spMk id="8" creationId="{59660E96-09DB-3DF0-E5A3-2F22AC5B8694}"/>
          </ac:spMkLst>
        </pc:spChg>
        <pc:spChg chg="del mod ord">
          <ac:chgData name="Thompson, Neil" userId="666b3560-10c6-47c6-810b-0f5c9f3d8792" providerId="ADAL" clId="{97F2CE2F-51CF-49C4-8166-5295EBE78925}" dt="2024-11-03T19:01:04.607" v="956" actId="700"/>
          <ac:spMkLst>
            <pc:docMk/>
            <pc:sldMk cId="1460348967" sldId="2126987317"/>
            <ac:spMk id="9" creationId="{FC3936CE-7D7B-FE38-3856-40569C9DFFB1}"/>
          </ac:spMkLst>
        </pc:spChg>
        <pc:spChg chg="del">
          <ac:chgData name="Thompson, Neil" userId="666b3560-10c6-47c6-810b-0f5c9f3d8792" providerId="ADAL" clId="{97F2CE2F-51CF-49C4-8166-5295EBE78925}" dt="2024-11-03T19:01:04.607" v="956" actId="700"/>
          <ac:spMkLst>
            <pc:docMk/>
            <pc:sldMk cId="1460348967" sldId="2126987317"/>
            <ac:spMk id="10" creationId="{2EB52D8C-A053-0497-08CC-B2960C22E26B}"/>
          </ac:spMkLst>
        </pc:spChg>
        <pc:spChg chg="del mod ord">
          <ac:chgData name="Thompson, Neil" userId="666b3560-10c6-47c6-810b-0f5c9f3d8792" providerId="ADAL" clId="{97F2CE2F-51CF-49C4-8166-5295EBE78925}" dt="2024-11-03T19:01:04.607" v="956" actId="700"/>
          <ac:spMkLst>
            <pc:docMk/>
            <pc:sldMk cId="1460348967" sldId="2126987317"/>
            <ac:spMk id="11" creationId="{56A48797-C6ED-E6EF-B93C-A9794F36CB77}"/>
          </ac:spMkLst>
        </pc:spChg>
        <pc:spChg chg="add del mod ord">
          <ac:chgData name="Thompson, Neil" userId="666b3560-10c6-47c6-810b-0f5c9f3d8792" providerId="ADAL" clId="{97F2CE2F-51CF-49C4-8166-5295EBE78925}" dt="2024-11-03T19:01:13.521" v="957" actId="700"/>
          <ac:spMkLst>
            <pc:docMk/>
            <pc:sldMk cId="1460348967" sldId="2126987317"/>
            <ac:spMk id="12" creationId="{6407E462-BD7B-659F-0C3D-E8B1576E1556}"/>
          </ac:spMkLst>
        </pc:spChg>
        <pc:spChg chg="add del mod ord">
          <ac:chgData name="Thompson, Neil" userId="666b3560-10c6-47c6-810b-0f5c9f3d8792" providerId="ADAL" clId="{97F2CE2F-51CF-49C4-8166-5295EBE78925}" dt="2024-11-03T19:01:13.521" v="957" actId="700"/>
          <ac:spMkLst>
            <pc:docMk/>
            <pc:sldMk cId="1460348967" sldId="2126987317"/>
            <ac:spMk id="13" creationId="{26E50407-02BC-EFC1-D6E8-0DC74F6E71D2}"/>
          </ac:spMkLst>
        </pc:spChg>
        <pc:spChg chg="add del mod ord">
          <ac:chgData name="Thompson, Neil" userId="666b3560-10c6-47c6-810b-0f5c9f3d8792" providerId="ADAL" clId="{97F2CE2F-51CF-49C4-8166-5295EBE78925}" dt="2024-11-03T19:01:13.521" v="957" actId="700"/>
          <ac:spMkLst>
            <pc:docMk/>
            <pc:sldMk cId="1460348967" sldId="2126987317"/>
            <ac:spMk id="14" creationId="{AAC2A0BA-C244-604C-E3C4-1076375E6C4D}"/>
          </ac:spMkLst>
        </pc:spChg>
        <pc:spChg chg="add del mod ord">
          <ac:chgData name="Thompson, Neil" userId="666b3560-10c6-47c6-810b-0f5c9f3d8792" providerId="ADAL" clId="{97F2CE2F-51CF-49C4-8166-5295EBE78925}" dt="2024-11-03T19:01:13.521" v="957" actId="700"/>
          <ac:spMkLst>
            <pc:docMk/>
            <pc:sldMk cId="1460348967" sldId="2126987317"/>
            <ac:spMk id="15" creationId="{8C63C947-8E04-4DC9-3A3D-733444364284}"/>
          </ac:spMkLst>
        </pc:spChg>
        <pc:spChg chg="add del mod ord">
          <ac:chgData name="Thompson, Neil" userId="666b3560-10c6-47c6-810b-0f5c9f3d8792" providerId="ADAL" clId="{97F2CE2F-51CF-49C4-8166-5295EBE78925}" dt="2024-11-03T19:01:13.521" v="957" actId="700"/>
          <ac:spMkLst>
            <pc:docMk/>
            <pc:sldMk cId="1460348967" sldId="2126987317"/>
            <ac:spMk id="16" creationId="{FB6EF6E3-29F4-1802-10EB-3FBA6219584A}"/>
          </ac:spMkLst>
        </pc:spChg>
        <pc:spChg chg="add del mod ord">
          <ac:chgData name="Thompson, Neil" userId="666b3560-10c6-47c6-810b-0f5c9f3d8792" providerId="ADAL" clId="{97F2CE2F-51CF-49C4-8166-5295EBE78925}" dt="2024-11-03T19:01:13.521" v="957" actId="700"/>
          <ac:spMkLst>
            <pc:docMk/>
            <pc:sldMk cId="1460348967" sldId="2126987317"/>
            <ac:spMk id="17" creationId="{8171EBBB-73EF-41FB-BCC6-EE975AE2C4A5}"/>
          </ac:spMkLst>
        </pc:spChg>
        <pc:spChg chg="add del mod ord">
          <ac:chgData name="Thompson, Neil" userId="666b3560-10c6-47c6-810b-0f5c9f3d8792" providerId="ADAL" clId="{97F2CE2F-51CF-49C4-8166-5295EBE78925}" dt="2024-11-03T19:01:13.521" v="957" actId="700"/>
          <ac:spMkLst>
            <pc:docMk/>
            <pc:sldMk cId="1460348967" sldId="2126987317"/>
            <ac:spMk id="18" creationId="{BF3870D8-FF87-45E7-F998-3F69AEEDC4E9}"/>
          </ac:spMkLst>
        </pc:spChg>
        <pc:spChg chg="add del mod ord">
          <ac:chgData name="Thompson, Neil" userId="666b3560-10c6-47c6-810b-0f5c9f3d8792" providerId="ADAL" clId="{97F2CE2F-51CF-49C4-8166-5295EBE78925}" dt="2024-11-03T19:01:13.521" v="957" actId="700"/>
          <ac:spMkLst>
            <pc:docMk/>
            <pc:sldMk cId="1460348967" sldId="2126987317"/>
            <ac:spMk id="19" creationId="{F15165B9-10BF-357F-BFB6-E2E4800DC5B7}"/>
          </ac:spMkLst>
        </pc:spChg>
        <pc:spChg chg="add del mod ord">
          <ac:chgData name="Thompson, Neil" userId="666b3560-10c6-47c6-810b-0f5c9f3d8792" providerId="ADAL" clId="{97F2CE2F-51CF-49C4-8166-5295EBE78925}" dt="2024-11-03T19:01:13.521" v="957" actId="700"/>
          <ac:spMkLst>
            <pc:docMk/>
            <pc:sldMk cId="1460348967" sldId="2126987317"/>
            <ac:spMk id="20" creationId="{8FA16586-53D6-D1B9-1265-023586008935}"/>
          </ac:spMkLst>
        </pc:spChg>
        <pc:spChg chg="add del mod ord">
          <ac:chgData name="Thompson, Neil" userId="666b3560-10c6-47c6-810b-0f5c9f3d8792" providerId="ADAL" clId="{97F2CE2F-51CF-49C4-8166-5295EBE78925}" dt="2024-11-03T19:01:13.521" v="957" actId="700"/>
          <ac:spMkLst>
            <pc:docMk/>
            <pc:sldMk cId="1460348967" sldId="2126987317"/>
            <ac:spMk id="21" creationId="{B8D0DE48-0032-1365-A9BA-C4BFD0796461}"/>
          </ac:spMkLst>
        </pc:spChg>
        <pc:spChg chg="add del mod ord">
          <ac:chgData name="Thompson, Neil" userId="666b3560-10c6-47c6-810b-0f5c9f3d8792" providerId="ADAL" clId="{97F2CE2F-51CF-49C4-8166-5295EBE78925}" dt="2024-11-03T19:01:13.521" v="957" actId="700"/>
          <ac:spMkLst>
            <pc:docMk/>
            <pc:sldMk cId="1460348967" sldId="2126987317"/>
            <ac:spMk id="22" creationId="{AF9CBE54-AEE1-C906-3891-304325CD5498}"/>
          </ac:spMkLst>
        </pc:spChg>
        <pc:spChg chg="add del mod ord">
          <ac:chgData name="Thompson, Neil" userId="666b3560-10c6-47c6-810b-0f5c9f3d8792" providerId="ADAL" clId="{97F2CE2F-51CF-49C4-8166-5295EBE78925}" dt="2024-11-03T19:01:13.521" v="957" actId="700"/>
          <ac:spMkLst>
            <pc:docMk/>
            <pc:sldMk cId="1460348967" sldId="2126987317"/>
            <ac:spMk id="23" creationId="{BD0BA5DC-A901-0E40-B73E-A523D8213E9B}"/>
          </ac:spMkLst>
        </pc:spChg>
        <pc:spChg chg="add del mod ord">
          <ac:chgData name="Thompson, Neil" userId="666b3560-10c6-47c6-810b-0f5c9f3d8792" providerId="ADAL" clId="{97F2CE2F-51CF-49C4-8166-5295EBE78925}" dt="2024-11-03T19:01:13.521" v="957" actId="700"/>
          <ac:spMkLst>
            <pc:docMk/>
            <pc:sldMk cId="1460348967" sldId="2126987317"/>
            <ac:spMk id="24" creationId="{933209C1-E762-9B0E-633B-DA1A906DCFC2}"/>
          </ac:spMkLst>
        </pc:spChg>
        <pc:spChg chg="add del mod ord">
          <ac:chgData name="Thompson, Neil" userId="666b3560-10c6-47c6-810b-0f5c9f3d8792" providerId="ADAL" clId="{97F2CE2F-51CF-49C4-8166-5295EBE78925}" dt="2024-11-03T19:01:13.521" v="957" actId="700"/>
          <ac:spMkLst>
            <pc:docMk/>
            <pc:sldMk cId="1460348967" sldId="2126987317"/>
            <ac:spMk id="25" creationId="{D7C4F9B3-8B72-C982-B06B-111DF88E27A1}"/>
          </ac:spMkLst>
        </pc:spChg>
        <pc:spChg chg="add del mod ord">
          <ac:chgData name="Thompson, Neil" userId="666b3560-10c6-47c6-810b-0f5c9f3d8792" providerId="ADAL" clId="{97F2CE2F-51CF-49C4-8166-5295EBE78925}" dt="2024-11-03T19:01:13.521" v="957" actId="700"/>
          <ac:spMkLst>
            <pc:docMk/>
            <pc:sldMk cId="1460348967" sldId="2126987317"/>
            <ac:spMk id="26" creationId="{9ACA7A88-CA80-605B-D403-AB7AE61D6FC6}"/>
          </ac:spMkLst>
        </pc:spChg>
        <pc:spChg chg="add mod ord">
          <ac:chgData name="Thompson, Neil" userId="666b3560-10c6-47c6-810b-0f5c9f3d8792" providerId="ADAL" clId="{97F2CE2F-51CF-49C4-8166-5295EBE78925}" dt="2024-11-03T19:01:21.168" v="958"/>
          <ac:spMkLst>
            <pc:docMk/>
            <pc:sldMk cId="1460348967" sldId="2126987317"/>
            <ac:spMk id="27" creationId="{5C23A91B-D667-6D47-0FAC-79D8C9E797FE}"/>
          </ac:spMkLst>
        </pc:spChg>
        <pc:spChg chg="add mod ord">
          <ac:chgData name="Thompson, Neil" userId="666b3560-10c6-47c6-810b-0f5c9f3d8792" providerId="ADAL" clId="{97F2CE2F-51CF-49C4-8166-5295EBE78925}" dt="2024-11-03T19:06:37.715" v="963" actId="207"/>
          <ac:spMkLst>
            <pc:docMk/>
            <pc:sldMk cId="1460348967" sldId="2126987317"/>
            <ac:spMk id="28" creationId="{B1ADA005-2DD6-5AF5-1D5B-D2F8B3695F03}"/>
          </ac:spMkLst>
        </pc:spChg>
        <pc:spChg chg="add mod ord">
          <ac:chgData name="Thompson, Neil" userId="666b3560-10c6-47c6-810b-0f5c9f3d8792" providerId="ADAL" clId="{97F2CE2F-51CF-49C4-8166-5295EBE78925}" dt="2024-11-03T19:07:11.006" v="969" actId="207"/>
          <ac:spMkLst>
            <pc:docMk/>
            <pc:sldMk cId="1460348967" sldId="2126987317"/>
            <ac:spMk id="29" creationId="{E420F2D9-F138-2E69-02A6-70A5C4472F5B}"/>
          </ac:spMkLst>
        </pc:spChg>
        <pc:spChg chg="add mod ord">
          <ac:chgData name="Thompson, Neil" userId="666b3560-10c6-47c6-810b-0f5c9f3d8792" providerId="ADAL" clId="{97F2CE2F-51CF-49C4-8166-5295EBE78925}" dt="2024-11-03T19:07:21.036" v="971" actId="207"/>
          <ac:spMkLst>
            <pc:docMk/>
            <pc:sldMk cId="1460348967" sldId="2126987317"/>
            <ac:spMk id="30" creationId="{9D02DD2D-42FE-FAFD-7D57-F04001F38220}"/>
          </ac:spMkLst>
        </pc:spChg>
        <pc:spChg chg="add mod ord modCrop">
          <ac:chgData name="Thompson, Neil" userId="666b3560-10c6-47c6-810b-0f5c9f3d8792" providerId="ADAL" clId="{97F2CE2F-51CF-49C4-8166-5295EBE78925}" dt="2024-11-03T19:11:00.364" v="1190" actId="207"/>
          <ac:spMkLst>
            <pc:docMk/>
            <pc:sldMk cId="1460348967" sldId="2126987317"/>
            <ac:spMk id="31" creationId="{CCAB76CB-E10B-D178-5D7F-1C98514E0179}"/>
          </ac:spMkLst>
        </pc:spChg>
        <pc:spChg chg="add mod ord">
          <ac:chgData name="Thompson, Neil" userId="666b3560-10c6-47c6-810b-0f5c9f3d8792" providerId="ADAL" clId="{97F2CE2F-51CF-49C4-8166-5295EBE78925}" dt="2024-11-03T19:07:42.107" v="976" actId="207"/>
          <ac:spMkLst>
            <pc:docMk/>
            <pc:sldMk cId="1460348967" sldId="2126987317"/>
            <ac:spMk id="32" creationId="{CFEA18BE-0494-EF1C-9607-AC66543B7E4A}"/>
          </ac:spMkLst>
        </pc:spChg>
        <pc:spChg chg="add mod ord">
          <ac:chgData name="Thompson, Neil" userId="666b3560-10c6-47c6-810b-0f5c9f3d8792" providerId="ADAL" clId="{97F2CE2F-51CF-49C4-8166-5295EBE78925}" dt="2024-11-03T19:07:48.873" v="979" actId="207"/>
          <ac:spMkLst>
            <pc:docMk/>
            <pc:sldMk cId="1460348967" sldId="2126987317"/>
            <ac:spMk id="33" creationId="{4FB71247-4588-1676-3525-6F88BF806439}"/>
          </ac:spMkLst>
        </pc:spChg>
        <pc:spChg chg="add del mod ord">
          <ac:chgData name="Thompson, Neil" userId="666b3560-10c6-47c6-810b-0f5c9f3d8792" providerId="ADAL" clId="{97F2CE2F-51CF-49C4-8166-5295EBE78925}" dt="2024-11-03T19:07:01.617" v="966" actId="478"/>
          <ac:spMkLst>
            <pc:docMk/>
            <pc:sldMk cId="1460348967" sldId="2126987317"/>
            <ac:spMk id="34" creationId="{44D20827-EA06-238C-7733-59746DC6C6CF}"/>
          </ac:spMkLst>
        </pc:spChg>
        <pc:spChg chg="add mod">
          <ac:chgData name="Thompson, Neil" userId="666b3560-10c6-47c6-810b-0f5c9f3d8792" providerId="ADAL" clId="{97F2CE2F-51CF-49C4-8166-5295EBE78925}" dt="2024-11-03T19:07:58.747" v="980" actId="571"/>
          <ac:spMkLst>
            <pc:docMk/>
            <pc:sldMk cId="1460348967" sldId="2126987317"/>
            <ac:spMk id="39" creationId="{71430521-CF14-5E86-0BCE-FB311506BAA5}"/>
          </ac:spMkLst>
        </pc:spChg>
        <pc:spChg chg="add mod">
          <ac:chgData name="Thompson, Neil" userId="666b3560-10c6-47c6-810b-0f5c9f3d8792" providerId="ADAL" clId="{97F2CE2F-51CF-49C4-8166-5295EBE78925}" dt="2024-11-03T19:07:58.747" v="980" actId="571"/>
          <ac:spMkLst>
            <pc:docMk/>
            <pc:sldMk cId="1460348967" sldId="2126987317"/>
            <ac:spMk id="40" creationId="{7ED2E224-0D96-9BF4-AD82-DC9BD8DC6100}"/>
          </ac:spMkLst>
        </pc:spChg>
        <pc:spChg chg="add mod">
          <ac:chgData name="Thompson, Neil" userId="666b3560-10c6-47c6-810b-0f5c9f3d8792" providerId="ADAL" clId="{97F2CE2F-51CF-49C4-8166-5295EBE78925}" dt="2024-11-03T19:07:58.747" v="980" actId="571"/>
          <ac:spMkLst>
            <pc:docMk/>
            <pc:sldMk cId="1460348967" sldId="2126987317"/>
            <ac:spMk id="41" creationId="{68793CFA-5D59-3A15-C17A-74CFAD30EB01}"/>
          </ac:spMkLst>
        </pc:spChg>
        <pc:spChg chg="add mod">
          <ac:chgData name="Thompson, Neil" userId="666b3560-10c6-47c6-810b-0f5c9f3d8792" providerId="ADAL" clId="{97F2CE2F-51CF-49C4-8166-5295EBE78925}" dt="2024-11-03T19:07:58.747" v="980" actId="571"/>
          <ac:spMkLst>
            <pc:docMk/>
            <pc:sldMk cId="1460348967" sldId="2126987317"/>
            <ac:spMk id="42" creationId="{5330DBDF-010A-1758-C376-C5468B9964EF}"/>
          </ac:spMkLst>
        </pc:spChg>
        <pc:spChg chg="add mod">
          <ac:chgData name="Thompson, Neil" userId="666b3560-10c6-47c6-810b-0f5c9f3d8792" providerId="ADAL" clId="{97F2CE2F-51CF-49C4-8166-5295EBE78925}" dt="2024-11-03T19:09:20.253" v="999" actId="207"/>
          <ac:spMkLst>
            <pc:docMk/>
            <pc:sldMk cId="1460348967" sldId="2126987317"/>
            <ac:spMk id="43" creationId="{66432AE6-6A47-8206-34CE-C02923CCF5FA}"/>
          </ac:spMkLst>
        </pc:spChg>
        <pc:spChg chg="add mod">
          <ac:chgData name="Thompson, Neil" userId="666b3560-10c6-47c6-810b-0f5c9f3d8792" providerId="ADAL" clId="{97F2CE2F-51CF-49C4-8166-5295EBE78925}" dt="2024-11-03T19:09:20.253" v="999" actId="207"/>
          <ac:spMkLst>
            <pc:docMk/>
            <pc:sldMk cId="1460348967" sldId="2126987317"/>
            <ac:spMk id="44" creationId="{C675FE29-A4CA-6921-DB1F-DD9084940FB3}"/>
          </ac:spMkLst>
        </pc:spChg>
        <pc:spChg chg="add mod">
          <ac:chgData name="Thompson, Neil" userId="666b3560-10c6-47c6-810b-0f5c9f3d8792" providerId="ADAL" clId="{97F2CE2F-51CF-49C4-8166-5295EBE78925}" dt="2024-11-03T19:09:20.253" v="999" actId="207"/>
          <ac:spMkLst>
            <pc:docMk/>
            <pc:sldMk cId="1460348967" sldId="2126987317"/>
            <ac:spMk id="45" creationId="{93173138-BF8D-09C3-353E-ADED814BE44A}"/>
          </ac:spMkLst>
        </pc:spChg>
        <pc:spChg chg="add mod">
          <ac:chgData name="Thompson, Neil" userId="666b3560-10c6-47c6-810b-0f5c9f3d8792" providerId="ADAL" clId="{97F2CE2F-51CF-49C4-8166-5295EBE78925}" dt="2024-11-03T19:09:20.253" v="999" actId="207"/>
          <ac:spMkLst>
            <pc:docMk/>
            <pc:sldMk cId="1460348967" sldId="2126987317"/>
            <ac:spMk id="46" creationId="{6C453444-6001-89B3-1490-74582C49D7AF}"/>
          </ac:spMkLst>
        </pc:spChg>
        <pc:spChg chg="add mod">
          <ac:chgData name="Thompson, Neil" userId="666b3560-10c6-47c6-810b-0f5c9f3d8792" providerId="ADAL" clId="{97F2CE2F-51CF-49C4-8166-5295EBE78925}" dt="2024-11-03T19:09:20.253" v="999" actId="207"/>
          <ac:spMkLst>
            <pc:docMk/>
            <pc:sldMk cId="1460348967" sldId="2126987317"/>
            <ac:spMk id="47" creationId="{D436B2C2-EC1B-A129-C7EB-4D8CD3A9A882}"/>
          </ac:spMkLst>
        </pc:spChg>
        <pc:picChg chg="add del mod">
          <ac:chgData name="Thompson, Neil" userId="666b3560-10c6-47c6-810b-0f5c9f3d8792" providerId="ADAL" clId="{97F2CE2F-51CF-49C4-8166-5295EBE78925}" dt="2024-11-03T19:06:29.848" v="961" actId="478"/>
          <ac:picMkLst>
            <pc:docMk/>
            <pc:sldMk cId="1460348967" sldId="2126987317"/>
            <ac:picMk id="36" creationId="{2475E9F6-9173-DC0A-CBCE-32BA6DAEA1D7}"/>
          </ac:picMkLst>
        </pc:picChg>
      </pc:sldChg>
      <pc:sldChg chg="modSp add del mod">
        <pc:chgData name="Thompson, Neil" userId="666b3560-10c6-47c6-810b-0f5c9f3d8792" providerId="ADAL" clId="{97F2CE2F-51CF-49C4-8166-5295EBE78925}" dt="2024-11-03T18:54:06.158" v="884" actId="47"/>
        <pc:sldMkLst>
          <pc:docMk/>
          <pc:sldMk cId="2651924048" sldId="2126987317"/>
        </pc:sldMkLst>
        <pc:spChg chg="mod">
          <ac:chgData name="Thompson, Neil" userId="666b3560-10c6-47c6-810b-0f5c9f3d8792" providerId="ADAL" clId="{97F2CE2F-51CF-49C4-8166-5295EBE78925}" dt="2024-11-03T18:51:06.541" v="879" actId="20577"/>
          <ac:spMkLst>
            <pc:docMk/>
            <pc:sldMk cId="2651924048" sldId="2126987317"/>
            <ac:spMk id="2" creationId="{FBFCBF5F-17A1-72B5-CBD8-5DB356FC143C}"/>
          </ac:spMkLst>
        </pc:spChg>
        <pc:spChg chg="mod">
          <ac:chgData name="Thompson, Neil" userId="666b3560-10c6-47c6-810b-0f5c9f3d8792" providerId="ADAL" clId="{97F2CE2F-51CF-49C4-8166-5295EBE78925}" dt="2024-11-03T18:52:19.418" v="883" actId="1076"/>
          <ac:spMkLst>
            <pc:docMk/>
            <pc:sldMk cId="2651924048" sldId="2126987317"/>
            <ac:spMk id="25" creationId="{E7A2367E-9D4D-90B5-C1BF-98996329A1E5}"/>
          </ac:spMkLst>
        </pc:spChg>
      </pc:sldChg>
      <pc:sldChg chg="add del ord">
        <pc:chgData name="Thompson, Neil" userId="666b3560-10c6-47c6-810b-0f5c9f3d8792" providerId="ADAL" clId="{97F2CE2F-51CF-49C4-8166-5295EBE78925}" dt="2024-11-03T19:00:02.739" v="953" actId="47"/>
        <pc:sldMkLst>
          <pc:docMk/>
          <pc:sldMk cId="2847187204" sldId="2126987317"/>
        </pc:sldMkLst>
      </pc:sldChg>
      <pc:sldChg chg="add del">
        <pc:chgData name="Thompson, Neil" userId="666b3560-10c6-47c6-810b-0f5c9f3d8792" providerId="ADAL" clId="{97F2CE2F-51CF-49C4-8166-5295EBE78925}" dt="2024-11-03T19:31:23.017" v="1432" actId="2890"/>
        <pc:sldMkLst>
          <pc:docMk/>
          <pc:sldMk cId="2708813368" sldId="2126987318"/>
        </pc:sldMkLst>
      </pc:sldChg>
      <pc:sldChg chg="modSp add del mod ord">
        <pc:chgData name="Thompson, Neil" userId="666b3560-10c6-47c6-810b-0f5c9f3d8792" providerId="ADAL" clId="{97F2CE2F-51CF-49C4-8166-5295EBE78925}" dt="2024-11-11T20:30:23.399" v="3016" actId="47"/>
        <pc:sldMkLst>
          <pc:docMk/>
          <pc:sldMk cId="2938508470" sldId="2126987318"/>
        </pc:sldMkLst>
        <pc:spChg chg="mod">
          <ac:chgData name="Thompson, Neil" userId="666b3560-10c6-47c6-810b-0f5c9f3d8792" providerId="ADAL" clId="{97F2CE2F-51CF-49C4-8166-5295EBE78925}" dt="2024-11-03T19:31:57.751" v="1443" actId="20577"/>
          <ac:spMkLst>
            <pc:docMk/>
            <pc:sldMk cId="2938508470" sldId="2126987318"/>
            <ac:spMk id="4" creationId="{0684DCF3-30D9-786F-B6B8-25271C4A234B}"/>
          </ac:spMkLst>
        </pc:spChg>
      </pc:sldChg>
      <pc:sldChg chg="modSp add mod">
        <pc:chgData name="Thompson, Neil" userId="666b3560-10c6-47c6-810b-0f5c9f3d8792" providerId="ADAL" clId="{97F2CE2F-51CF-49C4-8166-5295EBE78925}" dt="2024-11-29T17:39:05.195" v="3071" actId="20577"/>
        <pc:sldMkLst>
          <pc:docMk/>
          <pc:sldMk cId="268413097" sldId="2126987319"/>
        </pc:sldMkLst>
        <pc:spChg chg="mod">
          <ac:chgData name="Thompson, Neil" userId="666b3560-10c6-47c6-810b-0f5c9f3d8792" providerId="ADAL" clId="{97F2CE2F-51CF-49C4-8166-5295EBE78925}" dt="2024-11-29T17:39:05.195" v="3071" actId="20577"/>
          <ac:spMkLst>
            <pc:docMk/>
            <pc:sldMk cId="268413097" sldId="2126987319"/>
            <ac:spMk id="5" creationId="{3B236E5C-80BB-6BB9-76C7-8AD7DD8AF3EC}"/>
          </ac:spMkLst>
        </pc:spChg>
      </pc:sldChg>
      <pc:sldChg chg="add replId">
        <pc:chgData name="Thompson, Neil" userId="666b3560-10c6-47c6-810b-0f5c9f3d8792" providerId="ADAL" clId="{97F2CE2F-51CF-49C4-8166-5295EBE78925}" dt="2024-11-07T14:18:57.274" v="1491" actId="2890"/>
        <pc:sldMkLst>
          <pc:docMk/>
          <pc:sldMk cId="1626079316" sldId="2126987320"/>
        </pc:sldMkLst>
      </pc:sldChg>
      <pc:sldChg chg="modSp add mod replId">
        <pc:chgData name="Thompson, Neil" userId="666b3560-10c6-47c6-810b-0f5c9f3d8792" providerId="ADAL" clId="{97F2CE2F-51CF-49C4-8166-5295EBE78925}" dt="2024-11-11T20:17:09.620" v="2637" actId="20577"/>
        <pc:sldMkLst>
          <pc:docMk/>
          <pc:sldMk cId="2946344203" sldId="2126987321"/>
        </pc:sldMkLst>
        <pc:spChg chg="mod">
          <ac:chgData name="Thompson, Neil" userId="666b3560-10c6-47c6-810b-0f5c9f3d8792" providerId="ADAL" clId="{97F2CE2F-51CF-49C4-8166-5295EBE78925}" dt="2024-11-11T20:17:09.620" v="2637" actId="20577"/>
          <ac:spMkLst>
            <pc:docMk/>
            <pc:sldMk cId="2946344203" sldId="2126987321"/>
            <ac:spMk id="2" creationId="{E7DEBEF2-6820-002D-478B-CEFFBDC16147}"/>
          </ac:spMkLst>
        </pc:spChg>
        <pc:spChg chg="mod">
          <ac:chgData name="Thompson, Neil" userId="666b3560-10c6-47c6-810b-0f5c9f3d8792" providerId="ADAL" clId="{97F2CE2F-51CF-49C4-8166-5295EBE78925}" dt="2024-11-11T19:07:47.218" v="2092" actId="1076"/>
          <ac:spMkLst>
            <pc:docMk/>
            <pc:sldMk cId="2946344203" sldId="2126987321"/>
            <ac:spMk id="6" creationId="{F7F43482-B76A-0124-EE7E-407F966B8EF7}"/>
          </ac:spMkLst>
        </pc:spChg>
      </pc:sldChg>
      <pc:sldChg chg="add ord replId">
        <pc:chgData name="Thompson, Neil" userId="666b3560-10c6-47c6-810b-0f5c9f3d8792" providerId="ADAL" clId="{97F2CE2F-51CF-49C4-8166-5295EBE78925}" dt="2024-11-15T19:05:09.183" v="3046"/>
        <pc:sldMkLst>
          <pc:docMk/>
          <pc:sldMk cId="3249312771" sldId="2126987322"/>
        </pc:sldMkLst>
      </pc:sldChg>
      <pc:sldChg chg="modSp add del mod replId">
        <pc:chgData name="Thompson, Neil" userId="666b3560-10c6-47c6-810b-0f5c9f3d8792" providerId="ADAL" clId="{97F2CE2F-51CF-49C4-8166-5295EBE78925}" dt="2024-11-11T19:00:38.734" v="1926" actId="47"/>
        <pc:sldMkLst>
          <pc:docMk/>
          <pc:sldMk cId="2517621324" sldId="2126987323"/>
        </pc:sldMkLst>
        <pc:spChg chg="mod">
          <ac:chgData name="Thompson, Neil" userId="666b3560-10c6-47c6-810b-0f5c9f3d8792" providerId="ADAL" clId="{97F2CE2F-51CF-49C4-8166-5295EBE78925}" dt="2024-11-07T14:22:44.071" v="1530"/>
          <ac:spMkLst>
            <pc:docMk/>
            <pc:sldMk cId="2517621324" sldId="2126987323"/>
            <ac:spMk id="14" creationId="{91CC3E9C-69EF-3922-4886-8B09A8C6B374}"/>
          </ac:spMkLst>
        </pc:spChg>
      </pc:sldChg>
      <pc:sldChg chg="addSp delSp modSp add del mod replId setBg">
        <pc:chgData name="Thompson, Neil" userId="666b3560-10c6-47c6-810b-0f5c9f3d8792" providerId="ADAL" clId="{97F2CE2F-51CF-49C4-8166-5295EBE78925}" dt="2024-11-11T19:00:48.510" v="1927" actId="47"/>
        <pc:sldMkLst>
          <pc:docMk/>
          <pc:sldMk cId="1115532522" sldId="2126987324"/>
        </pc:sldMkLst>
        <pc:spChg chg="add mod">
          <ac:chgData name="Thompson, Neil" userId="666b3560-10c6-47c6-810b-0f5c9f3d8792" providerId="ADAL" clId="{97F2CE2F-51CF-49C4-8166-5295EBE78925}" dt="2024-11-07T14:26:00.482" v="1576" actId="1076"/>
          <ac:spMkLst>
            <pc:docMk/>
            <pc:sldMk cId="1115532522" sldId="2126987324"/>
            <ac:spMk id="2" creationId="{B79BBFFB-C5FE-EB6B-FA49-BC8D6C69F086}"/>
          </ac:spMkLst>
        </pc:spChg>
        <pc:spChg chg="add del mod">
          <ac:chgData name="Thompson, Neil" userId="666b3560-10c6-47c6-810b-0f5c9f3d8792" providerId="ADAL" clId="{97F2CE2F-51CF-49C4-8166-5295EBE78925}" dt="2024-11-07T14:28:22.757" v="1613" actId="478"/>
          <ac:spMkLst>
            <pc:docMk/>
            <pc:sldMk cId="1115532522" sldId="2126987324"/>
            <ac:spMk id="3" creationId="{14AE75D7-CD47-B0EA-4AE6-DA483BF01DA2}"/>
          </ac:spMkLst>
        </pc:spChg>
        <pc:spChg chg="del">
          <ac:chgData name="Thompson, Neil" userId="666b3560-10c6-47c6-810b-0f5c9f3d8792" providerId="ADAL" clId="{97F2CE2F-51CF-49C4-8166-5295EBE78925}" dt="2024-11-07T14:24:22.832" v="1534" actId="478"/>
          <ac:spMkLst>
            <pc:docMk/>
            <pc:sldMk cId="1115532522" sldId="2126987324"/>
            <ac:spMk id="28" creationId="{E6C4AB7A-F3F3-8C1B-9814-B22892EF4942}"/>
          </ac:spMkLst>
        </pc:spChg>
        <pc:spChg chg="del">
          <ac:chgData name="Thompson, Neil" userId="666b3560-10c6-47c6-810b-0f5c9f3d8792" providerId="ADAL" clId="{97F2CE2F-51CF-49C4-8166-5295EBE78925}" dt="2024-11-07T14:24:26.309" v="1538" actId="478"/>
          <ac:spMkLst>
            <pc:docMk/>
            <pc:sldMk cId="1115532522" sldId="2126987324"/>
            <ac:spMk id="29" creationId="{D9A04F99-4671-45A3-0516-A12A29FDB9B9}"/>
          </ac:spMkLst>
        </pc:spChg>
        <pc:spChg chg="del">
          <ac:chgData name="Thompson, Neil" userId="666b3560-10c6-47c6-810b-0f5c9f3d8792" providerId="ADAL" clId="{97F2CE2F-51CF-49C4-8166-5295EBE78925}" dt="2024-11-07T14:24:31.182" v="1543" actId="478"/>
          <ac:spMkLst>
            <pc:docMk/>
            <pc:sldMk cId="1115532522" sldId="2126987324"/>
            <ac:spMk id="30" creationId="{ED5C6240-A802-8D03-BF83-860FC3D1D660}"/>
          </ac:spMkLst>
        </pc:spChg>
        <pc:spChg chg="mod">
          <ac:chgData name="Thompson, Neil" userId="666b3560-10c6-47c6-810b-0f5c9f3d8792" providerId="ADAL" clId="{97F2CE2F-51CF-49C4-8166-5295EBE78925}" dt="2024-11-07T14:24:56.589" v="1553" actId="1076"/>
          <ac:spMkLst>
            <pc:docMk/>
            <pc:sldMk cId="1115532522" sldId="2126987324"/>
            <ac:spMk id="31" creationId="{4B09B6D6-896A-C38C-AAA5-8734A362F8E4}"/>
          </ac:spMkLst>
        </pc:spChg>
        <pc:spChg chg="del">
          <ac:chgData name="Thompson, Neil" userId="666b3560-10c6-47c6-810b-0f5c9f3d8792" providerId="ADAL" clId="{97F2CE2F-51CF-49C4-8166-5295EBE78925}" dt="2024-11-07T14:25:03.725" v="1556" actId="478"/>
          <ac:spMkLst>
            <pc:docMk/>
            <pc:sldMk cId="1115532522" sldId="2126987324"/>
            <ac:spMk id="32" creationId="{AEBB0BDA-8AB1-0454-8B1A-1CECA72F9CE7}"/>
          </ac:spMkLst>
        </pc:spChg>
        <pc:spChg chg="del">
          <ac:chgData name="Thompson, Neil" userId="666b3560-10c6-47c6-810b-0f5c9f3d8792" providerId="ADAL" clId="{97F2CE2F-51CF-49C4-8166-5295EBE78925}" dt="2024-11-07T14:25:27.903" v="1567" actId="478"/>
          <ac:spMkLst>
            <pc:docMk/>
            <pc:sldMk cId="1115532522" sldId="2126987324"/>
            <ac:spMk id="33" creationId="{1E019E97-A5D4-5BDA-F558-DF85F387C8E9}"/>
          </ac:spMkLst>
        </pc:spChg>
        <pc:spChg chg="del">
          <ac:chgData name="Thompson, Neil" userId="666b3560-10c6-47c6-810b-0f5c9f3d8792" providerId="ADAL" clId="{97F2CE2F-51CF-49C4-8166-5295EBE78925}" dt="2024-11-07T14:24:22.026" v="1533" actId="478"/>
          <ac:spMkLst>
            <pc:docMk/>
            <pc:sldMk cId="1115532522" sldId="2126987324"/>
            <ac:spMk id="39" creationId="{F160D7FF-12D7-A8DC-BB55-D59F65C5FDB0}"/>
          </ac:spMkLst>
        </pc:spChg>
        <pc:spChg chg="del">
          <ac:chgData name="Thompson, Neil" userId="666b3560-10c6-47c6-810b-0f5c9f3d8792" providerId="ADAL" clId="{97F2CE2F-51CF-49C4-8166-5295EBE78925}" dt="2024-11-07T14:24:25.424" v="1537" actId="478"/>
          <ac:spMkLst>
            <pc:docMk/>
            <pc:sldMk cId="1115532522" sldId="2126987324"/>
            <ac:spMk id="40" creationId="{6E009A81-76DE-C321-680F-3B681951A8A3}"/>
          </ac:spMkLst>
        </pc:spChg>
        <pc:spChg chg="del">
          <ac:chgData name="Thompson, Neil" userId="666b3560-10c6-47c6-810b-0f5c9f3d8792" providerId="ADAL" clId="{97F2CE2F-51CF-49C4-8166-5295EBE78925}" dt="2024-11-07T14:24:30.399" v="1542" actId="478"/>
          <ac:spMkLst>
            <pc:docMk/>
            <pc:sldMk cId="1115532522" sldId="2126987324"/>
            <ac:spMk id="41" creationId="{C362D6FD-BF02-D269-5431-2077F36FA825}"/>
          </ac:spMkLst>
        </pc:spChg>
        <pc:spChg chg="del">
          <ac:chgData name="Thompson, Neil" userId="666b3560-10c6-47c6-810b-0f5c9f3d8792" providerId="ADAL" clId="{97F2CE2F-51CF-49C4-8166-5295EBE78925}" dt="2024-11-07T14:25:27.382" v="1566" actId="478"/>
          <ac:spMkLst>
            <pc:docMk/>
            <pc:sldMk cId="1115532522" sldId="2126987324"/>
            <ac:spMk id="42" creationId="{DF1C50C4-F41F-B8AD-2D82-55765631CD8B}"/>
          </ac:spMkLst>
        </pc:spChg>
        <pc:spChg chg="mod">
          <ac:chgData name="Thompson, Neil" userId="666b3560-10c6-47c6-810b-0f5c9f3d8792" providerId="ADAL" clId="{97F2CE2F-51CF-49C4-8166-5295EBE78925}" dt="2024-11-07T14:25:03.075" v="1555" actId="14100"/>
          <ac:spMkLst>
            <pc:docMk/>
            <pc:sldMk cId="1115532522" sldId="2126987324"/>
            <ac:spMk id="43" creationId="{B4E09BA9-8501-2BB4-BA99-8B36DCFCCA08}"/>
          </ac:spMkLst>
        </pc:spChg>
        <pc:spChg chg="mod">
          <ac:chgData name="Thompson, Neil" userId="666b3560-10c6-47c6-810b-0f5c9f3d8792" providerId="ADAL" clId="{97F2CE2F-51CF-49C4-8166-5295EBE78925}" dt="2024-11-07T14:25:38.473" v="1573" actId="1076"/>
          <ac:spMkLst>
            <pc:docMk/>
            <pc:sldMk cId="1115532522" sldId="2126987324"/>
            <ac:spMk id="44" creationId="{9006080A-AC65-BB3B-F438-19DC514ED472}"/>
          </ac:spMkLst>
        </pc:spChg>
        <pc:spChg chg="mod">
          <ac:chgData name="Thompson, Neil" userId="666b3560-10c6-47c6-810b-0f5c9f3d8792" providerId="ADAL" clId="{97F2CE2F-51CF-49C4-8166-5295EBE78925}" dt="2024-11-07T14:25:34.015" v="1570" actId="1076"/>
          <ac:spMkLst>
            <pc:docMk/>
            <pc:sldMk cId="1115532522" sldId="2126987324"/>
            <ac:spMk id="45" creationId="{6D4D4800-C550-79B1-9807-7F606A0B0F2A}"/>
          </ac:spMkLst>
        </pc:spChg>
        <pc:spChg chg="mod">
          <ac:chgData name="Thompson, Neil" userId="666b3560-10c6-47c6-810b-0f5c9f3d8792" providerId="ADAL" clId="{97F2CE2F-51CF-49C4-8166-5295EBE78925}" dt="2024-11-07T14:25:35.947" v="1571" actId="1076"/>
          <ac:spMkLst>
            <pc:docMk/>
            <pc:sldMk cId="1115532522" sldId="2126987324"/>
            <ac:spMk id="46" creationId="{6EA55983-2EDA-0854-B71B-D4DBE3AC292B}"/>
          </ac:spMkLst>
        </pc:spChg>
        <pc:spChg chg="mod">
          <ac:chgData name="Thompson, Neil" userId="666b3560-10c6-47c6-810b-0f5c9f3d8792" providerId="ADAL" clId="{97F2CE2F-51CF-49C4-8166-5295EBE78925}" dt="2024-11-07T14:25:37.281" v="1572" actId="1076"/>
          <ac:spMkLst>
            <pc:docMk/>
            <pc:sldMk cId="1115532522" sldId="2126987324"/>
            <ac:spMk id="47" creationId="{6B6CE147-26AB-82B6-7150-5D1A1147CA27}"/>
          </ac:spMkLst>
        </pc:spChg>
      </pc:sldChg>
      <pc:sldChg chg="modSp add mod ord replId setBg modNotesTx">
        <pc:chgData name="Thompson, Neil" userId="666b3560-10c6-47c6-810b-0f5c9f3d8792" providerId="ADAL" clId="{97F2CE2F-51CF-49C4-8166-5295EBE78925}" dt="2024-11-29T18:55:17.709" v="3084"/>
        <pc:sldMkLst>
          <pc:docMk/>
          <pc:sldMk cId="3890935148" sldId="2126987325"/>
        </pc:sldMkLst>
        <pc:spChg chg="mod">
          <ac:chgData name="Thompson, Neil" userId="666b3560-10c6-47c6-810b-0f5c9f3d8792" providerId="ADAL" clId="{97F2CE2F-51CF-49C4-8166-5295EBE78925}" dt="2024-11-11T20:11:53.102" v="2571" actId="20577"/>
          <ac:spMkLst>
            <pc:docMk/>
            <pc:sldMk cId="3890935148" sldId="2126987325"/>
            <ac:spMk id="4" creationId="{2E502335-A309-96B3-DCA6-3F1EDEDA129B}"/>
          </ac:spMkLst>
        </pc:spChg>
      </pc:sldChg>
      <pc:sldChg chg="addSp modSp add mod replId">
        <pc:chgData name="Thompson, Neil" userId="666b3560-10c6-47c6-810b-0f5c9f3d8792" providerId="ADAL" clId="{97F2CE2F-51CF-49C4-8166-5295EBE78925}" dt="2024-11-11T20:34:35.593" v="3035" actId="1076"/>
        <pc:sldMkLst>
          <pc:docMk/>
          <pc:sldMk cId="1724535548" sldId="2126987326"/>
        </pc:sldMkLst>
        <pc:spChg chg="mod">
          <ac:chgData name="Thompson, Neil" userId="666b3560-10c6-47c6-810b-0f5c9f3d8792" providerId="ADAL" clId="{97F2CE2F-51CF-49C4-8166-5295EBE78925}" dt="2024-11-11T20:11:45.604" v="2569" actId="20577"/>
          <ac:spMkLst>
            <pc:docMk/>
            <pc:sldMk cId="1724535548" sldId="2126987326"/>
            <ac:spMk id="3" creationId="{DF8CA035-B9F9-E1E1-AC46-78043521610D}"/>
          </ac:spMkLst>
        </pc:spChg>
        <pc:spChg chg="mod">
          <ac:chgData name="Thompson, Neil" userId="666b3560-10c6-47c6-810b-0f5c9f3d8792" providerId="ADAL" clId="{97F2CE2F-51CF-49C4-8166-5295EBE78925}" dt="2024-11-11T20:32:51.313" v="3021"/>
          <ac:spMkLst>
            <pc:docMk/>
            <pc:sldMk cId="1724535548" sldId="2126987326"/>
            <ac:spMk id="5" creationId="{38C00A08-EDB3-90AF-A64C-CFD804227599}"/>
          </ac:spMkLst>
        </pc:spChg>
        <pc:picChg chg="add mod">
          <ac:chgData name="Thompson, Neil" userId="666b3560-10c6-47c6-810b-0f5c9f3d8792" providerId="ADAL" clId="{97F2CE2F-51CF-49C4-8166-5295EBE78925}" dt="2024-11-11T20:34:35.593" v="3035" actId="1076"/>
          <ac:picMkLst>
            <pc:docMk/>
            <pc:sldMk cId="1724535548" sldId="2126987326"/>
            <ac:picMk id="10" creationId="{8B2F48FB-C750-7CDC-96F2-6327A8AC4701}"/>
          </ac:picMkLst>
        </pc:picChg>
      </pc:sldChg>
      <pc:sldChg chg="modSp add mod replId">
        <pc:chgData name="Thompson, Neil" userId="666b3560-10c6-47c6-810b-0f5c9f3d8792" providerId="ADAL" clId="{97F2CE2F-51CF-49C4-8166-5295EBE78925}" dt="2024-11-11T20:11:57.751" v="2573" actId="20577"/>
        <pc:sldMkLst>
          <pc:docMk/>
          <pc:sldMk cId="2993622424" sldId="2126987327"/>
        </pc:sldMkLst>
        <pc:spChg chg="mod">
          <ac:chgData name="Thompson, Neil" userId="666b3560-10c6-47c6-810b-0f5c9f3d8792" providerId="ADAL" clId="{97F2CE2F-51CF-49C4-8166-5295EBE78925}" dt="2024-11-11T20:11:57.751" v="2573" actId="20577"/>
          <ac:spMkLst>
            <pc:docMk/>
            <pc:sldMk cId="2993622424" sldId="2126987327"/>
            <ac:spMk id="4" creationId="{E1A46CC2-5108-334D-A001-5B1F8F01416B}"/>
          </ac:spMkLst>
        </pc:spChg>
      </pc:sldChg>
      <pc:sldChg chg="new del">
        <pc:chgData name="Thompson, Neil" userId="666b3560-10c6-47c6-810b-0f5c9f3d8792" providerId="ADAL" clId="{97F2CE2F-51CF-49C4-8166-5295EBE78925}" dt="2024-11-07T14:30:29.250" v="1632" actId="47"/>
        <pc:sldMkLst>
          <pc:docMk/>
          <pc:sldMk cId="1550040639" sldId="2126987328"/>
        </pc:sldMkLst>
      </pc:sldChg>
      <pc:sldChg chg="new del">
        <pc:chgData name="Thompson, Neil" userId="666b3560-10c6-47c6-810b-0f5c9f3d8792" providerId="ADAL" clId="{97F2CE2F-51CF-49C4-8166-5295EBE78925}" dt="2024-11-07T14:22:36.569" v="1528" actId="680"/>
        <pc:sldMkLst>
          <pc:docMk/>
          <pc:sldMk cId="2443501765" sldId="2126987328"/>
        </pc:sldMkLst>
      </pc:sldChg>
      <pc:sldChg chg="addSp delSp modSp new mod setBg modClrScheme chgLayout">
        <pc:chgData name="Thompson, Neil" userId="666b3560-10c6-47c6-810b-0f5c9f3d8792" providerId="ADAL" clId="{97F2CE2F-51CF-49C4-8166-5295EBE78925}" dt="2024-11-11T20:19:31.035" v="2727" actId="1076"/>
        <pc:sldMkLst>
          <pc:docMk/>
          <pc:sldMk cId="1178411522" sldId="2126987329"/>
        </pc:sldMkLst>
        <pc:spChg chg="del mod ord">
          <ac:chgData name="Thompson, Neil" userId="666b3560-10c6-47c6-810b-0f5c9f3d8792" providerId="ADAL" clId="{97F2CE2F-51CF-49C4-8166-5295EBE78925}" dt="2024-11-07T14:28:45.761" v="1615" actId="700"/>
          <ac:spMkLst>
            <pc:docMk/>
            <pc:sldMk cId="1178411522" sldId="2126987329"/>
            <ac:spMk id="2" creationId="{A0AE14B6-DEE5-1CC1-425D-7AF79CCFFCE1}"/>
          </ac:spMkLst>
        </pc:spChg>
        <pc:spChg chg="del mod ord">
          <ac:chgData name="Thompson, Neil" userId="666b3560-10c6-47c6-810b-0f5c9f3d8792" providerId="ADAL" clId="{97F2CE2F-51CF-49C4-8166-5295EBE78925}" dt="2024-11-07T14:28:45.761" v="1615" actId="700"/>
          <ac:spMkLst>
            <pc:docMk/>
            <pc:sldMk cId="1178411522" sldId="2126987329"/>
            <ac:spMk id="3" creationId="{256E4E56-972F-87C1-86B8-FA28ABF02D73}"/>
          </ac:spMkLst>
        </pc:spChg>
        <pc:spChg chg="del mod ord">
          <ac:chgData name="Thompson, Neil" userId="666b3560-10c6-47c6-810b-0f5c9f3d8792" providerId="ADAL" clId="{97F2CE2F-51CF-49C4-8166-5295EBE78925}" dt="2024-11-07T14:28:45.761" v="1615" actId="700"/>
          <ac:spMkLst>
            <pc:docMk/>
            <pc:sldMk cId="1178411522" sldId="2126987329"/>
            <ac:spMk id="4" creationId="{A7E4BA7D-0735-F9B0-A019-23791F4ED051}"/>
          </ac:spMkLst>
        </pc:spChg>
        <pc:spChg chg="del">
          <ac:chgData name="Thompson, Neil" userId="666b3560-10c6-47c6-810b-0f5c9f3d8792" providerId="ADAL" clId="{97F2CE2F-51CF-49C4-8166-5295EBE78925}" dt="2024-11-07T14:28:45.761" v="1615" actId="700"/>
          <ac:spMkLst>
            <pc:docMk/>
            <pc:sldMk cId="1178411522" sldId="2126987329"/>
            <ac:spMk id="5" creationId="{CA00F04C-5F1E-C151-37F8-C2F3878BAB00}"/>
          </ac:spMkLst>
        </pc:spChg>
        <pc:spChg chg="del">
          <ac:chgData name="Thompson, Neil" userId="666b3560-10c6-47c6-810b-0f5c9f3d8792" providerId="ADAL" clId="{97F2CE2F-51CF-49C4-8166-5295EBE78925}" dt="2024-11-07T14:28:45.761" v="1615" actId="700"/>
          <ac:spMkLst>
            <pc:docMk/>
            <pc:sldMk cId="1178411522" sldId="2126987329"/>
            <ac:spMk id="6" creationId="{82A37C4B-0F79-57EC-19E8-C709DC8306C0}"/>
          </ac:spMkLst>
        </pc:spChg>
        <pc:spChg chg="del">
          <ac:chgData name="Thompson, Neil" userId="666b3560-10c6-47c6-810b-0f5c9f3d8792" providerId="ADAL" clId="{97F2CE2F-51CF-49C4-8166-5295EBE78925}" dt="2024-11-07T14:28:45.761" v="1615" actId="700"/>
          <ac:spMkLst>
            <pc:docMk/>
            <pc:sldMk cId="1178411522" sldId="2126987329"/>
            <ac:spMk id="7" creationId="{9A7B4C2C-0BC6-01BD-A19B-4A16AC65BEC1}"/>
          </ac:spMkLst>
        </pc:spChg>
        <pc:spChg chg="del mod ord">
          <ac:chgData name="Thompson, Neil" userId="666b3560-10c6-47c6-810b-0f5c9f3d8792" providerId="ADAL" clId="{97F2CE2F-51CF-49C4-8166-5295EBE78925}" dt="2024-11-11T19:02:43.506" v="2030" actId="478"/>
          <ac:spMkLst>
            <pc:docMk/>
            <pc:sldMk cId="1178411522" sldId="2126987329"/>
            <ac:spMk id="8" creationId="{9434E934-C3C3-3DAF-5B20-BF08CE7BB0BC}"/>
          </ac:spMkLst>
        </pc:spChg>
        <pc:spChg chg="del mod ord">
          <ac:chgData name="Thompson, Neil" userId="666b3560-10c6-47c6-810b-0f5c9f3d8792" providerId="ADAL" clId="{97F2CE2F-51CF-49C4-8166-5295EBE78925}" dt="2024-11-07T14:39:09.284" v="1728" actId="478"/>
          <ac:spMkLst>
            <pc:docMk/>
            <pc:sldMk cId="1178411522" sldId="2126987329"/>
            <ac:spMk id="9" creationId="{41CB46F3-3C39-7EB5-9B82-D8A2B233D8BF}"/>
          </ac:spMkLst>
        </pc:spChg>
        <pc:spChg chg="mod ord">
          <ac:chgData name="Thompson, Neil" userId="666b3560-10c6-47c6-810b-0f5c9f3d8792" providerId="ADAL" clId="{97F2CE2F-51CF-49C4-8166-5295EBE78925}" dt="2024-11-07T14:35:21.701" v="1669" actId="700"/>
          <ac:spMkLst>
            <pc:docMk/>
            <pc:sldMk cId="1178411522" sldId="2126987329"/>
            <ac:spMk id="10" creationId="{0E070394-BFFB-2D64-AD54-127F2ED9B2EF}"/>
          </ac:spMkLst>
        </pc:spChg>
        <pc:spChg chg="del">
          <ac:chgData name="Thompson, Neil" userId="666b3560-10c6-47c6-810b-0f5c9f3d8792" providerId="ADAL" clId="{97F2CE2F-51CF-49C4-8166-5295EBE78925}" dt="2024-11-07T14:28:45.761" v="1615" actId="700"/>
          <ac:spMkLst>
            <pc:docMk/>
            <pc:sldMk cId="1178411522" sldId="2126987329"/>
            <ac:spMk id="11" creationId="{19EC4185-1DC0-F887-508B-92ABA68A9098}"/>
          </ac:spMkLst>
        </pc:spChg>
        <pc:spChg chg="del mod ord">
          <ac:chgData name="Thompson, Neil" userId="666b3560-10c6-47c6-810b-0f5c9f3d8792" providerId="ADAL" clId="{97F2CE2F-51CF-49C4-8166-5295EBE78925}" dt="2024-11-07T14:28:45.761" v="1615" actId="700"/>
          <ac:spMkLst>
            <pc:docMk/>
            <pc:sldMk cId="1178411522" sldId="2126987329"/>
            <ac:spMk id="12" creationId="{C44743B8-3E9C-2BAF-AB68-4C559D3C2DD1}"/>
          </ac:spMkLst>
        </pc:spChg>
        <pc:spChg chg="add del mod ord">
          <ac:chgData name="Thompson, Neil" userId="666b3560-10c6-47c6-810b-0f5c9f3d8792" providerId="ADAL" clId="{97F2CE2F-51CF-49C4-8166-5295EBE78925}" dt="2024-11-07T14:29:34.129" v="1621" actId="700"/>
          <ac:spMkLst>
            <pc:docMk/>
            <pc:sldMk cId="1178411522" sldId="2126987329"/>
            <ac:spMk id="13" creationId="{4B5778D8-9E64-9C2B-782E-55BFD7EADADC}"/>
          </ac:spMkLst>
        </pc:spChg>
        <pc:spChg chg="add del mod ord">
          <ac:chgData name="Thompson, Neil" userId="666b3560-10c6-47c6-810b-0f5c9f3d8792" providerId="ADAL" clId="{97F2CE2F-51CF-49C4-8166-5295EBE78925}" dt="2024-11-07T14:29:34.129" v="1621" actId="700"/>
          <ac:spMkLst>
            <pc:docMk/>
            <pc:sldMk cId="1178411522" sldId="2126987329"/>
            <ac:spMk id="14" creationId="{975D42EC-CE87-53CB-7A6C-F41DCC821005}"/>
          </ac:spMkLst>
        </pc:spChg>
        <pc:spChg chg="add del mod ord">
          <ac:chgData name="Thompson, Neil" userId="666b3560-10c6-47c6-810b-0f5c9f3d8792" providerId="ADAL" clId="{97F2CE2F-51CF-49C4-8166-5295EBE78925}" dt="2024-11-07T14:28:57.618" v="1616" actId="478"/>
          <ac:spMkLst>
            <pc:docMk/>
            <pc:sldMk cId="1178411522" sldId="2126987329"/>
            <ac:spMk id="15" creationId="{D2F61C97-44AB-619B-E49B-2F3577884864}"/>
          </ac:spMkLst>
        </pc:spChg>
        <pc:spChg chg="add del mod ord">
          <ac:chgData name="Thompson, Neil" userId="666b3560-10c6-47c6-810b-0f5c9f3d8792" providerId="ADAL" clId="{97F2CE2F-51CF-49C4-8166-5295EBE78925}" dt="2024-11-07T14:29:34.129" v="1621" actId="700"/>
          <ac:spMkLst>
            <pc:docMk/>
            <pc:sldMk cId="1178411522" sldId="2126987329"/>
            <ac:spMk id="16" creationId="{753C30BB-1AEB-DD5D-9197-99F1855B2D3C}"/>
          </ac:spMkLst>
        </pc:spChg>
        <pc:spChg chg="add del mod">
          <ac:chgData name="Thompson, Neil" userId="666b3560-10c6-47c6-810b-0f5c9f3d8792" providerId="ADAL" clId="{97F2CE2F-51CF-49C4-8166-5295EBE78925}" dt="2024-11-07T14:29:58.492" v="1625"/>
          <ac:spMkLst>
            <pc:docMk/>
            <pc:sldMk cId="1178411522" sldId="2126987329"/>
            <ac:spMk id="18" creationId="{9FD79FB3-5374-7076-E95F-BBFC3E67BF58}"/>
          </ac:spMkLst>
        </pc:spChg>
        <pc:spChg chg="add del mod ord">
          <ac:chgData name="Thompson, Neil" userId="666b3560-10c6-47c6-810b-0f5c9f3d8792" providerId="ADAL" clId="{97F2CE2F-51CF-49C4-8166-5295EBE78925}" dt="2024-11-07T14:29:52.030" v="1622" actId="700"/>
          <ac:spMkLst>
            <pc:docMk/>
            <pc:sldMk cId="1178411522" sldId="2126987329"/>
            <ac:spMk id="19" creationId="{7E1BC383-F1BC-78AB-9D22-E6B50C44E5FA}"/>
          </ac:spMkLst>
        </pc:spChg>
        <pc:spChg chg="add del mod ord">
          <ac:chgData name="Thompson, Neil" userId="666b3560-10c6-47c6-810b-0f5c9f3d8792" providerId="ADAL" clId="{97F2CE2F-51CF-49C4-8166-5295EBE78925}" dt="2024-11-07T14:29:52.030" v="1622" actId="700"/>
          <ac:spMkLst>
            <pc:docMk/>
            <pc:sldMk cId="1178411522" sldId="2126987329"/>
            <ac:spMk id="20" creationId="{0B76FBE7-8A5F-8781-9F2F-07A902CE669B}"/>
          </ac:spMkLst>
        </pc:spChg>
        <pc:spChg chg="add del mod ord">
          <ac:chgData name="Thompson, Neil" userId="666b3560-10c6-47c6-810b-0f5c9f3d8792" providerId="ADAL" clId="{97F2CE2F-51CF-49C4-8166-5295EBE78925}" dt="2024-11-07T14:29:52.030" v="1622" actId="700"/>
          <ac:spMkLst>
            <pc:docMk/>
            <pc:sldMk cId="1178411522" sldId="2126987329"/>
            <ac:spMk id="21" creationId="{75110F19-2399-1F9A-BB32-DCF53A2C422C}"/>
          </ac:spMkLst>
        </pc:spChg>
        <pc:spChg chg="add del mod ord">
          <ac:chgData name="Thompson, Neil" userId="666b3560-10c6-47c6-810b-0f5c9f3d8792" providerId="ADAL" clId="{97F2CE2F-51CF-49C4-8166-5295EBE78925}" dt="2024-11-07T14:29:52.030" v="1622" actId="700"/>
          <ac:spMkLst>
            <pc:docMk/>
            <pc:sldMk cId="1178411522" sldId="2126987329"/>
            <ac:spMk id="22" creationId="{6D7CEC15-AC7D-C19A-3A87-FEA386962B62}"/>
          </ac:spMkLst>
        </pc:spChg>
        <pc:spChg chg="add del mod ord">
          <ac:chgData name="Thompson, Neil" userId="666b3560-10c6-47c6-810b-0f5c9f3d8792" providerId="ADAL" clId="{97F2CE2F-51CF-49C4-8166-5295EBE78925}" dt="2024-11-07T14:29:52.030" v="1622" actId="700"/>
          <ac:spMkLst>
            <pc:docMk/>
            <pc:sldMk cId="1178411522" sldId="2126987329"/>
            <ac:spMk id="23" creationId="{1B4A1567-6355-F612-3347-7F59BBB89476}"/>
          </ac:spMkLst>
        </pc:spChg>
        <pc:spChg chg="add del mod ord">
          <ac:chgData name="Thompson, Neil" userId="666b3560-10c6-47c6-810b-0f5c9f3d8792" providerId="ADAL" clId="{97F2CE2F-51CF-49C4-8166-5295EBE78925}" dt="2024-11-07T14:29:52.030" v="1622" actId="700"/>
          <ac:spMkLst>
            <pc:docMk/>
            <pc:sldMk cId="1178411522" sldId="2126987329"/>
            <ac:spMk id="24" creationId="{6CD0F382-22AD-B052-F41B-5D24C71F80DF}"/>
          </ac:spMkLst>
        </pc:spChg>
        <pc:spChg chg="add del mod ord">
          <ac:chgData name="Thompson, Neil" userId="666b3560-10c6-47c6-810b-0f5c9f3d8792" providerId="ADAL" clId="{97F2CE2F-51CF-49C4-8166-5295EBE78925}" dt="2024-11-07T14:29:52.030" v="1622" actId="700"/>
          <ac:spMkLst>
            <pc:docMk/>
            <pc:sldMk cId="1178411522" sldId="2126987329"/>
            <ac:spMk id="25" creationId="{CD0A170A-C12D-217F-FD78-2895200C554D}"/>
          </ac:spMkLst>
        </pc:spChg>
        <pc:spChg chg="add del mod ord">
          <ac:chgData name="Thompson, Neil" userId="666b3560-10c6-47c6-810b-0f5c9f3d8792" providerId="ADAL" clId="{97F2CE2F-51CF-49C4-8166-5295EBE78925}" dt="2024-11-07T14:29:52.030" v="1622" actId="700"/>
          <ac:spMkLst>
            <pc:docMk/>
            <pc:sldMk cId="1178411522" sldId="2126987329"/>
            <ac:spMk id="26" creationId="{8E978549-DB76-4298-5DB4-26D2573BD526}"/>
          </ac:spMkLst>
        </pc:spChg>
        <pc:spChg chg="add del mod ord">
          <ac:chgData name="Thompson, Neil" userId="666b3560-10c6-47c6-810b-0f5c9f3d8792" providerId="ADAL" clId="{97F2CE2F-51CF-49C4-8166-5295EBE78925}" dt="2024-11-07T14:29:52.030" v="1622" actId="700"/>
          <ac:spMkLst>
            <pc:docMk/>
            <pc:sldMk cId="1178411522" sldId="2126987329"/>
            <ac:spMk id="27" creationId="{43F6F9D9-66CB-DE2B-B1AD-DDE7EE58C3EB}"/>
          </ac:spMkLst>
        </pc:spChg>
        <pc:spChg chg="add mod ord">
          <ac:chgData name="Thompson, Neil" userId="666b3560-10c6-47c6-810b-0f5c9f3d8792" providerId="ADAL" clId="{97F2CE2F-51CF-49C4-8166-5295EBE78925}" dt="2024-11-11T20:17:02.253" v="2627" actId="20577"/>
          <ac:spMkLst>
            <pc:docMk/>
            <pc:sldMk cId="1178411522" sldId="2126987329"/>
            <ac:spMk id="28" creationId="{A55DA0C8-C9E1-9FCA-24DC-71C7CD8542F3}"/>
          </ac:spMkLst>
        </pc:spChg>
        <pc:spChg chg="add del mod ord">
          <ac:chgData name="Thompson, Neil" userId="666b3560-10c6-47c6-810b-0f5c9f3d8792" providerId="ADAL" clId="{97F2CE2F-51CF-49C4-8166-5295EBE78925}" dt="2024-11-07T14:36:10.631" v="1676" actId="478"/>
          <ac:spMkLst>
            <pc:docMk/>
            <pc:sldMk cId="1178411522" sldId="2126987329"/>
            <ac:spMk id="29" creationId="{FC53E7FB-AE7E-05A5-6671-63E44B56D3DD}"/>
          </ac:spMkLst>
        </pc:spChg>
        <pc:spChg chg="add del mod ord">
          <ac:chgData name="Thompson, Neil" userId="666b3560-10c6-47c6-810b-0f5c9f3d8792" providerId="ADAL" clId="{97F2CE2F-51CF-49C4-8166-5295EBE78925}" dt="2024-11-07T14:36:28.411" v="1678" actId="478"/>
          <ac:spMkLst>
            <pc:docMk/>
            <pc:sldMk cId="1178411522" sldId="2126987329"/>
            <ac:spMk id="30" creationId="{7BFE1CCF-EF37-DE84-4DB0-1F3400A1B858}"/>
          </ac:spMkLst>
        </pc:spChg>
        <pc:spChg chg="add mod">
          <ac:chgData name="Thompson, Neil" userId="666b3560-10c6-47c6-810b-0f5c9f3d8792" providerId="ADAL" clId="{97F2CE2F-51CF-49C4-8166-5295EBE78925}" dt="2024-11-07T14:39:02.198" v="1727" actId="1076"/>
          <ac:spMkLst>
            <pc:docMk/>
            <pc:sldMk cId="1178411522" sldId="2126987329"/>
            <ac:spMk id="31" creationId="{159FF054-3F99-606A-FBAD-3452EF0B5BEB}"/>
          </ac:spMkLst>
        </pc:spChg>
        <pc:spChg chg="add del mod">
          <ac:chgData name="Thompson, Neil" userId="666b3560-10c6-47c6-810b-0f5c9f3d8792" providerId="ADAL" clId="{97F2CE2F-51CF-49C4-8166-5295EBE78925}" dt="2024-11-07T14:37:56.226" v="1701" actId="478"/>
          <ac:spMkLst>
            <pc:docMk/>
            <pc:sldMk cId="1178411522" sldId="2126987329"/>
            <ac:spMk id="32" creationId="{B70D4A10-D6DF-970B-1727-77EC861A56D2}"/>
          </ac:spMkLst>
        </pc:spChg>
        <pc:spChg chg="add mod">
          <ac:chgData name="Thompson, Neil" userId="666b3560-10c6-47c6-810b-0f5c9f3d8792" providerId="ADAL" clId="{97F2CE2F-51CF-49C4-8166-5295EBE78925}" dt="2024-11-07T14:40:17.498" v="1752" actId="1076"/>
          <ac:spMkLst>
            <pc:docMk/>
            <pc:sldMk cId="1178411522" sldId="2126987329"/>
            <ac:spMk id="33" creationId="{71A4E047-0519-5318-A035-5E0D234C2C58}"/>
          </ac:spMkLst>
        </pc:spChg>
        <pc:spChg chg="add mod">
          <ac:chgData name="Thompson, Neil" userId="666b3560-10c6-47c6-810b-0f5c9f3d8792" providerId="ADAL" clId="{97F2CE2F-51CF-49C4-8166-5295EBE78925}" dt="2024-11-07T14:42:13.230" v="1765" actId="1076"/>
          <ac:spMkLst>
            <pc:docMk/>
            <pc:sldMk cId="1178411522" sldId="2126987329"/>
            <ac:spMk id="34" creationId="{115F846A-0EEF-1DC7-FEA4-55EA22770446}"/>
          </ac:spMkLst>
        </pc:spChg>
        <pc:spChg chg="add mod">
          <ac:chgData name="Thompson, Neil" userId="666b3560-10c6-47c6-810b-0f5c9f3d8792" providerId="ADAL" clId="{97F2CE2F-51CF-49C4-8166-5295EBE78925}" dt="2024-11-07T14:38:38.708" v="1721" actId="1076"/>
          <ac:spMkLst>
            <pc:docMk/>
            <pc:sldMk cId="1178411522" sldId="2126987329"/>
            <ac:spMk id="35" creationId="{D89B1403-BC8F-8E9E-859F-55DAEB1CC1BC}"/>
          </ac:spMkLst>
        </pc:spChg>
        <pc:spChg chg="add del mod ord">
          <ac:chgData name="Thompson, Neil" userId="666b3560-10c6-47c6-810b-0f5c9f3d8792" providerId="ADAL" clId="{97F2CE2F-51CF-49C4-8166-5295EBE78925}" dt="2024-11-07T14:35:21.701" v="1669" actId="700"/>
          <ac:spMkLst>
            <pc:docMk/>
            <pc:sldMk cId="1178411522" sldId="2126987329"/>
            <ac:spMk id="49" creationId="{4AFB5BB9-60E5-824A-0E42-C2FD7F367E6D}"/>
          </ac:spMkLst>
        </pc:spChg>
        <pc:spChg chg="add del mod ord">
          <ac:chgData name="Thompson, Neil" userId="666b3560-10c6-47c6-810b-0f5c9f3d8792" providerId="ADAL" clId="{97F2CE2F-51CF-49C4-8166-5295EBE78925}" dt="2024-11-07T14:35:21.701" v="1669" actId="700"/>
          <ac:spMkLst>
            <pc:docMk/>
            <pc:sldMk cId="1178411522" sldId="2126987329"/>
            <ac:spMk id="50" creationId="{214B812C-0A40-6564-BB0E-292B18B4D6D6}"/>
          </ac:spMkLst>
        </pc:spChg>
        <pc:spChg chg="add del mod ord">
          <ac:chgData name="Thompson, Neil" userId="666b3560-10c6-47c6-810b-0f5c9f3d8792" providerId="ADAL" clId="{97F2CE2F-51CF-49C4-8166-5295EBE78925}" dt="2024-11-07T14:35:21.701" v="1669" actId="700"/>
          <ac:spMkLst>
            <pc:docMk/>
            <pc:sldMk cId="1178411522" sldId="2126987329"/>
            <ac:spMk id="51" creationId="{1EA02972-349F-F54B-DF6F-09CE740A8189}"/>
          </ac:spMkLst>
        </pc:spChg>
        <pc:spChg chg="add del mod ord">
          <ac:chgData name="Thompson, Neil" userId="666b3560-10c6-47c6-810b-0f5c9f3d8792" providerId="ADAL" clId="{97F2CE2F-51CF-49C4-8166-5295EBE78925}" dt="2024-11-07T14:35:21.701" v="1669" actId="700"/>
          <ac:spMkLst>
            <pc:docMk/>
            <pc:sldMk cId="1178411522" sldId="2126987329"/>
            <ac:spMk id="52" creationId="{FAE694FF-190F-C942-4632-F9E32953A545}"/>
          </ac:spMkLst>
        </pc:spChg>
        <pc:spChg chg="add del mod ord">
          <ac:chgData name="Thompson, Neil" userId="666b3560-10c6-47c6-810b-0f5c9f3d8792" providerId="ADAL" clId="{97F2CE2F-51CF-49C4-8166-5295EBE78925}" dt="2024-11-07T14:35:21.701" v="1669" actId="700"/>
          <ac:spMkLst>
            <pc:docMk/>
            <pc:sldMk cId="1178411522" sldId="2126987329"/>
            <ac:spMk id="53" creationId="{3960BA8A-B679-AF66-D9C1-71F62DB3764F}"/>
          </ac:spMkLst>
        </pc:spChg>
        <pc:spChg chg="add del mod ord">
          <ac:chgData name="Thompson, Neil" userId="666b3560-10c6-47c6-810b-0f5c9f3d8792" providerId="ADAL" clId="{97F2CE2F-51CF-49C4-8166-5295EBE78925}" dt="2024-11-07T14:35:21.701" v="1669" actId="700"/>
          <ac:spMkLst>
            <pc:docMk/>
            <pc:sldMk cId="1178411522" sldId="2126987329"/>
            <ac:spMk id="54" creationId="{C540F2BF-EADE-4696-824A-EBFCBD19CCC3}"/>
          </ac:spMkLst>
        </pc:spChg>
        <pc:spChg chg="add del mod ord">
          <ac:chgData name="Thompson, Neil" userId="666b3560-10c6-47c6-810b-0f5c9f3d8792" providerId="ADAL" clId="{97F2CE2F-51CF-49C4-8166-5295EBE78925}" dt="2024-11-07T14:35:21.701" v="1669" actId="700"/>
          <ac:spMkLst>
            <pc:docMk/>
            <pc:sldMk cId="1178411522" sldId="2126987329"/>
            <ac:spMk id="55" creationId="{69501206-9CEF-D2C2-CDB8-AB38A83C8AC9}"/>
          </ac:spMkLst>
        </pc:spChg>
        <pc:spChg chg="add del mod ord">
          <ac:chgData name="Thompson, Neil" userId="666b3560-10c6-47c6-810b-0f5c9f3d8792" providerId="ADAL" clId="{97F2CE2F-51CF-49C4-8166-5295EBE78925}" dt="2024-11-07T14:35:21.701" v="1669" actId="700"/>
          <ac:spMkLst>
            <pc:docMk/>
            <pc:sldMk cId="1178411522" sldId="2126987329"/>
            <ac:spMk id="56" creationId="{C548880C-46B9-F8BE-B156-899DC7C6DA63}"/>
          </ac:spMkLst>
        </pc:spChg>
        <pc:spChg chg="add del mod ord">
          <ac:chgData name="Thompson, Neil" userId="666b3560-10c6-47c6-810b-0f5c9f3d8792" providerId="ADAL" clId="{97F2CE2F-51CF-49C4-8166-5295EBE78925}" dt="2024-11-07T14:35:21.701" v="1669" actId="700"/>
          <ac:spMkLst>
            <pc:docMk/>
            <pc:sldMk cId="1178411522" sldId="2126987329"/>
            <ac:spMk id="57" creationId="{D367B7D4-DF2A-2622-B7AF-FE97D8D4EBE4}"/>
          </ac:spMkLst>
        </pc:spChg>
        <pc:spChg chg="add del mod ord">
          <ac:chgData name="Thompson, Neil" userId="666b3560-10c6-47c6-810b-0f5c9f3d8792" providerId="ADAL" clId="{97F2CE2F-51CF-49C4-8166-5295EBE78925}" dt="2024-11-07T14:35:21.701" v="1669" actId="700"/>
          <ac:spMkLst>
            <pc:docMk/>
            <pc:sldMk cId="1178411522" sldId="2126987329"/>
            <ac:spMk id="58" creationId="{A5F4C40A-612E-A27C-A316-271BC03B5EF4}"/>
          </ac:spMkLst>
        </pc:spChg>
        <pc:spChg chg="add del mod ord">
          <ac:chgData name="Thompson, Neil" userId="666b3560-10c6-47c6-810b-0f5c9f3d8792" providerId="ADAL" clId="{97F2CE2F-51CF-49C4-8166-5295EBE78925}" dt="2024-11-07T14:35:21.701" v="1669" actId="700"/>
          <ac:spMkLst>
            <pc:docMk/>
            <pc:sldMk cId="1178411522" sldId="2126987329"/>
            <ac:spMk id="59" creationId="{894F0EBA-B5BD-1734-30B1-32E1E65A99BF}"/>
          </ac:spMkLst>
        </pc:spChg>
        <pc:spChg chg="add del mod ord">
          <ac:chgData name="Thompson, Neil" userId="666b3560-10c6-47c6-810b-0f5c9f3d8792" providerId="ADAL" clId="{97F2CE2F-51CF-49C4-8166-5295EBE78925}" dt="2024-11-07T14:35:21.701" v="1669" actId="700"/>
          <ac:spMkLst>
            <pc:docMk/>
            <pc:sldMk cId="1178411522" sldId="2126987329"/>
            <ac:spMk id="60" creationId="{C335693D-E13F-1A3A-0397-662F685C6213}"/>
          </ac:spMkLst>
        </pc:spChg>
        <pc:spChg chg="add del mod ord">
          <ac:chgData name="Thompson, Neil" userId="666b3560-10c6-47c6-810b-0f5c9f3d8792" providerId="ADAL" clId="{97F2CE2F-51CF-49C4-8166-5295EBE78925}" dt="2024-11-07T14:35:21.701" v="1669" actId="700"/>
          <ac:spMkLst>
            <pc:docMk/>
            <pc:sldMk cId="1178411522" sldId="2126987329"/>
            <ac:spMk id="61" creationId="{667B61E6-3948-4617-C7D0-F371813D3BE8}"/>
          </ac:spMkLst>
        </pc:spChg>
        <pc:spChg chg="add del mod ord">
          <ac:chgData name="Thompson, Neil" userId="666b3560-10c6-47c6-810b-0f5c9f3d8792" providerId="ADAL" clId="{97F2CE2F-51CF-49C4-8166-5295EBE78925}" dt="2024-11-07T14:35:21.701" v="1669" actId="700"/>
          <ac:spMkLst>
            <pc:docMk/>
            <pc:sldMk cId="1178411522" sldId="2126987329"/>
            <ac:spMk id="62" creationId="{50F06134-52E8-CE9D-7AA3-B3CE780BDED3}"/>
          </ac:spMkLst>
        </pc:spChg>
        <pc:spChg chg="add del mod ord">
          <ac:chgData name="Thompson, Neil" userId="666b3560-10c6-47c6-810b-0f5c9f3d8792" providerId="ADAL" clId="{97F2CE2F-51CF-49C4-8166-5295EBE78925}" dt="2024-11-07T14:35:21.701" v="1669" actId="700"/>
          <ac:spMkLst>
            <pc:docMk/>
            <pc:sldMk cId="1178411522" sldId="2126987329"/>
            <ac:spMk id="63" creationId="{30C9EAFC-70E3-1686-65DC-5E3F3D7CB3CD}"/>
          </ac:spMkLst>
        </pc:spChg>
        <pc:spChg chg="add mod">
          <ac:chgData name="Thompson, Neil" userId="666b3560-10c6-47c6-810b-0f5c9f3d8792" providerId="ADAL" clId="{97F2CE2F-51CF-49C4-8166-5295EBE78925}" dt="2024-11-07T20:59:36.515" v="1925" actId="1076"/>
          <ac:spMkLst>
            <pc:docMk/>
            <pc:sldMk cId="1178411522" sldId="2126987329"/>
            <ac:spMk id="64" creationId="{0AA03DB9-F320-FCF9-C2B3-B3426EA90D58}"/>
          </ac:spMkLst>
        </pc:spChg>
        <pc:spChg chg="add del mod">
          <ac:chgData name="Thompson, Neil" userId="666b3560-10c6-47c6-810b-0f5c9f3d8792" providerId="ADAL" clId="{97F2CE2F-51CF-49C4-8166-5295EBE78925}" dt="2024-11-07T14:37:18.758" v="1687" actId="478"/>
          <ac:spMkLst>
            <pc:docMk/>
            <pc:sldMk cId="1178411522" sldId="2126987329"/>
            <ac:spMk id="66" creationId="{0C1A3B6B-E598-3096-FC52-F7EB5FA92D64}"/>
          </ac:spMkLst>
        </pc:spChg>
        <pc:spChg chg="add mod">
          <ac:chgData name="Thompson, Neil" userId="666b3560-10c6-47c6-810b-0f5c9f3d8792" providerId="ADAL" clId="{97F2CE2F-51CF-49C4-8166-5295EBE78925}" dt="2024-11-07T14:36:39.418" v="1680"/>
          <ac:spMkLst>
            <pc:docMk/>
            <pc:sldMk cId="1178411522" sldId="2126987329"/>
            <ac:spMk id="67" creationId="{6BC3C8F6-758F-E333-CE69-516086D094CD}"/>
          </ac:spMkLst>
        </pc:spChg>
        <pc:spChg chg="add mod">
          <ac:chgData name="Thompson, Neil" userId="666b3560-10c6-47c6-810b-0f5c9f3d8792" providerId="ADAL" clId="{97F2CE2F-51CF-49C4-8166-5295EBE78925}" dt="2024-11-11T20:19:31.035" v="2727" actId="1076"/>
          <ac:spMkLst>
            <pc:docMk/>
            <pc:sldMk cId="1178411522" sldId="2126987329"/>
            <ac:spMk id="69" creationId="{5F663868-3F42-9071-7457-FA48EBC3A26D}"/>
          </ac:spMkLst>
        </pc:spChg>
        <pc:picChg chg="add del mod">
          <ac:chgData name="Thompson, Neil" userId="666b3560-10c6-47c6-810b-0f5c9f3d8792" providerId="ADAL" clId="{97F2CE2F-51CF-49C4-8166-5295EBE78925}" dt="2024-11-07T14:37:59.270" v="1705" actId="478"/>
          <ac:picMkLst>
            <pc:docMk/>
            <pc:sldMk cId="1178411522" sldId="2126987329"/>
            <ac:picMk id="36" creationId="{3F45E9B3-67E3-861D-B3E1-148D8E7919E8}"/>
          </ac:picMkLst>
        </pc:picChg>
        <pc:picChg chg="add mod">
          <ac:chgData name="Thompson, Neil" userId="666b3560-10c6-47c6-810b-0f5c9f3d8792" providerId="ADAL" clId="{97F2CE2F-51CF-49C4-8166-5295EBE78925}" dt="2024-11-07T14:33:52.593" v="1665" actId="931"/>
          <ac:picMkLst>
            <pc:docMk/>
            <pc:sldMk cId="1178411522" sldId="2126987329"/>
            <ac:picMk id="38" creationId="{677A4C8C-3D02-46C5-C2EC-BAC9C61D9BCC}"/>
          </ac:picMkLst>
        </pc:picChg>
        <pc:picChg chg="add mod">
          <ac:chgData name="Thompson, Neil" userId="666b3560-10c6-47c6-810b-0f5c9f3d8792" providerId="ADAL" clId="{97F2CE2F-51CF-49C4-8166-5295EBE78925}" dt="2024-11-07T14:33:50.335" v="1664" actId="931"/>
          <ac:picMkLst>
            <pc:docMk/>
            <pc:sldMk cId="1178411522" sldId="2126987329"/>
            <ac:picMk id="40" creationId="{62BA0383-52A8-3EAE-1B48-D5B33089E279}"/>
          </ac:picMkLst>
        </pc:picChg>
        <pc:picChg chg="add mod">
          <ac:chgData name="Thompson, Neil" userId="666b3560-10c6-47c6-810b-0f5c9f3d8792" providerId="ADAL" clId="{97F2CE2F-51CF-49C4-8166-5295EBE78925}" dt="2024-11-07T14:33:50.335" v="1664" actId="931"/>
          <ac:picMkLst>
            <pc:docMk/>
            <pc:sldMk cId="1178411522" sldId="2126987329"/>
            <ac:picMk id="42" creationId="{50E24DB5-30C6-D0D3-07C9-02D22937487F}"/>
          </ac:picMkLst>
        </pc:picChg>
        <pc:picChg chg="add mod">
          <ac:chgData name="Thompson, Neil" userId="666b3560-10c6-47c6-810b-0f5c9f3d8792" providerId="ADAL" clId="{97F2CE2F-51CF-49C4-8166-5295EBE78925}" dt="2024-11-07T14:33:50.335" v="1664" actId="931"/>
          <ac:picMkLst>
            <pc:docMk/>
            <pc:sldMk cId="1178411522" sldId="2126987329"/>
            <ac:picMk id="44" creationId="{6F9A8C63-5FBF-133F-6FD9-9D69F01BC5FF}"/>
          </ac:picMkLst>
        </pc:picChg>
        <pc:picChg chg="add mod">
          <ac:chgData name="Thompson, Neil" userId="666b3560-10c6-47c6-810b-0f5c9f3d8792" providerId="ADAL" clId="{97F2CE2F-51CF-49C4-8166-5295EBE78925}" dt="2024-11-07T14:33:50.335" v="1664" actId="931"/>
          <ac:picMkLst>
            <pc:docMk/>
            <pc:sldMk cId="1178411522" sldId="2126987329"/>
            <ac:picMk id="46" creationId="{360C65F0-0845-D60B-D2F0-EF1DA394DCF6}"/>
          </ac:picMkLst>
        </pc:picChg>
        <pc:picChg chg="add mod">
          <ac:chgData name="Thompson, Neil" userId="666b3560-10c6-47c6-810b-0f5c9f3d8792" providerId="ADAL" clId="{97F2CE2F-51CF-49C4-8166-5295EBE78925}" dt="2024-11-07T14:33:50.335" v="1664" actId="931"/>
          <ac:picMkLst>
            <pc:docMk/>
            <pc:sldMk cId="1178411522" sldId="2126987329"/>
            <ac:picMk id="48" creationId="{D687D954-93C0-6DE0-4193-AE8C3AB38075}"/>
          </ac:picMkLst>
        </pc:picChg>
        <pc:picChg chg="add mod">
          <ac:chgData name="Thompson, Neil" userId="666b3560-10c6-47c6-810b-0f5c9f3d8792" providerId="ADAL" clId="{97F2CE2F-51CF-49C4-8166-5295EBE78925}" dt="2024-11-07T14:38:55.223" v="1726" actId="1076"/>
          <ac:picMkLst>
            <pc:docMk/>
            <pc:sldMk cId="1178411522" sldId="2126987329"/>
            <ac:picMk id="65" creationId="{6B23D7BD-CA3C-8839-EAD1-D5D5077AAC5D}"/>
          </ac:picMkLst>
        </pc:picChg>
        <pc:picChg chg="add del mod">
          <ac:chgData name="Thompson, Neil" userId="666b3560-10c6-47c6-810b-0f5c9f3d8792" providerId="ADAL" clId="{97F2CE2F-51CF-49C4-8166-5295EBE78925}" dt="2024-11-07T14:40:55.475" v="1756" actId="478"/>
          <ac:picMkLst>
            <pc:docMk/>
            <pc:sldMk cId="1178411522" sldId="2126987329"/>
            <ac:picMk id="71" creationId="{B11B7390-F298-58C1-3D44-9B8AA9A2886B}"/>
          </ac:picMkLst>
        </pc:picChg>
        <pc:picChg chg="add mod">
          <ac:chgData name="Thompson, Neil" userId="666b3560-10c6-47c6-810b-0f5c9f3d8792" providerId="ADAL" clId="{97F2CE2F-51CF-49C4-8166-5295EBE78925}" dt="2024-11-07T14:42:07.726" v="1764" actId="1076"/>
          <ac:picMkLst>
            <pc:docMk/>
            <pc:sldMk cId="1178411522" sldId="2126987329"/>
            <ac:picMk id="73" creationId="{ADCBF278-B1FC-B848-4DD4-434E1CCA8217}"/>
          </ac:picMkLst>
        </pc:picChg>
      </pc:sldChg>
      <pc:sldChg chg="addSp delSp modSp new mod modClrScheme chgLayout">
        <pc:chgData name="Thompson, Neil" userId="666b3560-10c6-47c6-810b-0f5c9f3d8792" providerId="ADAL" clId="{97F2CE2F-51CF-49C4-8166-5295EBE78925}" dt="2024-11-11T20:22:14.145" v="2769" actId="20577"/>
        <pc:sldMkLst>
          <pc:docMk/>
          <pc:sldMk cId="2067681819" sldId="2126987330"/>
        </pc:sldMkLst>
        <pc:spChg chg="del mod ord">
          <ac:chgData name="Thompson, Neil" userId="666b3560-10c6-47c6-810b-0f5c9f3d8792" providerId="ADAL" clId="{97F2CE2F-51CF-49C4-8166-5295EBE78925}" dt="2024-11-11T19:03:50.461" v="2032" actId="700"/>
          <ac:spMkLst>
            <pc:docMk/>
            <pc:sldMk cId="2067681819" sldId="2126987330"/>
            <ac:spMk id="2" creationId="{A9C3CBCF-E279-A426-295E-61AFEF87FE52}"/>
          </ac:spMkLst>
        </pc:spChg>
        <pc:spChg chg="del mod ord">
          <ac:chgData name="Thompson, Neil" userId="666b3560-10c6-47c6-810b-0f5c9f3d8792" providerId="ADAL" clId="{97F2CE2F-51CF-49C4-8166-5295EBE78925}" dt="2024-11-11T19:03:50.461" v="2032" actId="700"/>
          <ac:spMkLst>
            <pc:docMk/>
            <pc:sldMk cId="2067681819" sldId="2126987330"/>
            <ac:spMk id="3" creationId="{6BA380DB-4B1C-8B97-ABDB-572ADF73D8EE}"/>
          </ac:spMkLst>
        </pc:spChg>
        <pc:spChg chg="del mod ord">
          <ac:chgData name="Thompson, Neil" userId="666b3560-10c6-47c6-810b-0f5c9f3d8792" providerId="ADAL" clId="{97F2CE2F-51CF-49C4-8166-5295EBE78925}" dt="2024-11-11T19:39:25.147" v="2171" actId="478"/>
          <ac:spMkLst>
            <pc:docMk/>
            <pc:sldMk cId="2067681819" sldId="2126987330"/>
            <ac:spMk id="4" creationId="{306DC285-B9BC-D789-5470-B8EAB0789BB5}"/>
          </ac:spMkLst>
        </pc:spChg>
        <pc:spChg chg="del mod ord">
          <ac:chgData name="Thompson, Neil" userId="666b3560-10c6-47c6-810b-0f5c9f3d8792" providerId="ADAL" clId="{97F2CE2F-51CF-49C4-8166-5295EBE78925}" dt="2024-11-11T19:39:22.235" v="2170" actId="478"/>
          <ac:spMkLst>
            <pc:docMk/>
            <pc:sldMk cId="2067681819" sldId="2126987330"/>
            <ac:spMk id="5" creationId="{3FCC82A8-8847-CA5D-36AF-1383E3F80542}"/>
          </ac:spMkLst>
        </pc:spChg>
        <pc:spChg chg="mod ord">
          <ac:chgData name="Thompson, Neil" userId="666b3560-10c6-47c6-810b-0f5c9f3d8792" providerId="ADAL" clId="{97F2CE2F-51CF-49C4-8166-5295EBE78925}" dt="2024-11-11T19:04:31.824" v="2033" actId="700"/>
          <ac:spMkLst>
            <pc:docMk/>
            <pc:sldMk cId="2067681819" sldId="2126987330"/>
            <ac:spMk id="6" creationId="{117B6D2B-1008-63E8-F808-0E5A267A7458}"/>
          </ac:spMkLst>
        </pc:spChg>
        <pc:spChg chg="del">
          <ac:chgData name="Thompson, Neil" userId="666b3560-10c6-47c6-810b-0f5c9f3d8792" providerId="ADAL" clId="{97F2CE2F-51CF-49C4-8166-5295EBE78925}" dt="2024-11-11T19:03:50.461" v="2032" actId="700"/>
          <ac:spMkLst>
            <pc:docMk/>
            <pc:sldMk cId="2067681819" sldId="2126987330"/>
            <ac:spMk id="7" creationId="{1376FC20-38AD-DB64-45E8-6DC794CDF2A1}"/>
          </ac:spMkLst>
        </pc:spChg>
        <pc:spChg chg="add del mod ord">
          <ac:chgData name="Thompson, Neil" userId="666b3560-10c6-47c6-810b-0f5c9f3d8792" providerId="ADAL" clId="{97F2CE2F-51CF-49C4-8166-5295EBE78925}" dt="2024-11-11T19:04:31.824" v="2033" actId="700"/>
          <ac:spMkLst>
            <pc:docMk/>
            <pc:sldMk cId="2067681819" sldId="2126987330"/>
            <ac:spMk id="8" creationId="{37642782-0734-DB82-9B9C-39E84A37C354}"/>
          </ac:spMkLst>
        </pc:spChg>
        <pc:spChg chg="add del mod ord">
          <ac:chgData name="Thompson, Neil" userId="666b3560-10c6-47c6-810b-0f5c9f3d8792" providerId="ADAL" clId="{97F2CE2F-51CF-49C4-8166-5295EBE78925}" dt="2024-11-11T19:04:31.824" v="2033" actId="700"/>
          <ac:spMkLst>
            <pc:docMk/>
            <pc:sldMk cId="2067681819" sldId="2126987330"/>
            <ac:spMk id="9" creationId="{3181F62B-124F-8B19-7EA0-6A90868E4071}"/>
          </ac:spMkLst>
        </pc:spChg>
        <pc:spChg chg="add del mod ord">
          <ac:chgData name="Thompson, Neil" userId="666b3560-10c6-47c6-810b-0f5c9f3d8792" providerId="ADAL" clId="{97F2CE2F-51CF-49C4-8166-5295EBE78925}" dt="2024-11-11T19:04:31.824" v="2033" actId="700"/>
          <ac:spMkLst>
            <pc:docMk/>
            <pc:sldMk cId="2067681819" sldId="2126987330"/>
            <ac:spMk id="10" creationId="{83AB99D8-A197-73BA-EF04-7ECF05F6B96D}"/>
          </ac:spMkLst>
        </pc:spChg>
        <pc:spChg chg="add del mod ord">
          <ac:chgData name="Thompson, Neil" userId="666b3560-10c6-47c6-810b-0f5c9f3d8792" providerId="ADAL" clId="{97F2CE2F-51CF-49C4-8166-5295EBE78925}" dt="2024-11-11T19:04:31.824" v="2033" actId="700"/>
          <ac:spMkLst>
            <pc:docMk/>
            <pc:sldMk cId="2067681819" sldId="2126987330"/>
            <ac:spMk id="11" creationId="{848EE221-1489-2646-5BCF-FA1BE4EE28BC}"/>
          </ac:spMkLst>
        </pc:spChg>
        <pc:spChg chg="add del mod ord">
          <ac:chgData name="Thompson, Neil" userId="666b3560-10c6-47c6-810b-0f5c9f3d8792" providerId="ADAL" clId="{97F2CE2F-51CF-49C4-8166-5295EBE78925}" dt="2024-11-11T19:04:31.824" v="2033" actId="700"/>
          <ac:spMkLst>
            <pc:docMk/>
            <pc:sldMk cId="2067681819" sldId="2126987330"/>
            <ac:spMk id="12" creationId="{790C1E9D-DBFA-FEB8-1065-B0C3603F0108}"/>
          </ac:spMkLst>
        </pc:spChg>
        <pc:spChg chg="add del mod ord">
          <ac:chgData name="Thompson, Neil" userId="666b3560-10c6-47c6-810b-0f5c9f3d8792" providerId="ADAL" clId="{97F2CE2F-51CF-49C4-8166-5295EBE78925}" dt="2024-11-11T19:04:31.824" v="2033" actId="700"/>
          <ac:spMkLst>
            <pc:docMk/>
            <pc:sldMk cId="2067681819" sldId="2126987330"/>
            <ac:spMk id="13" creationId="{8D034B48-B082-5C1B-E68C-D5F488E899C9}"/>
          </ac:spMkLst>
        </pc:spChg>
        <pc:spChg chg="add del mod ord">
          <ac:chgData name="Thompson, Neil" userId="666b3560-10c6-47c6-810b-0f5c9f3d8792" providerId="ADAL" clId="{97F2CE2F-51CF-49C4-8166-5295EBE78925}" dt="2024-11-11T19:04:31.824" v="2033" actId="700"/>
          <ac:spMkLst>
            <pc:docMk/>
            <pc:sldMk cId="2067681819" sldId="2126987330"/>
            <ac:spMk id="14" creationId="{04A043FA-76AE-D6C5-8468-9E34B636A102}"/>
          </ac:spMkLst>
        </pc:spChg>
        <pc:spChg chg="add del mod ord">
          <ac:chgData name="Thompson, Neil" userId="666b3560-10c6-47c6-810b-0f5c9f3d8792" providerId="ADAL" clId="{97F2CE2F-51CF-49C4-8166-5295EBE78925}" dt="2024-11-11T19:04:31.824" v="2033" actId="700"/>
          <ac:spMkLst>
            <pc:docMk/>
            <pc:sldMk cId="2067681819" sldId="2126987330"/>
            <ac:spMk id="15" creationId="{4B89F76C-8B04-1B45-76F4-F178CAA71B79}"/>
          </ac:spMkLst>
        </pc:spChg>
        <pc:spChg chg="add del mod ord">
          <ac:chgData name="Thompson, Neil" userId="666b3560-10c6-47c6-810b-0f5c9f3d8792" providerId="ADAL" clId="{97F2CE2F-51CF-49C4-8166-5295EBE78925}" dt="2024-11-11T19:04:31.824" v="2033" actId="700"/>
          <ac:spMkLst>
            <pc:docMk/>
            <pc:sldMk cId="2067681819" sldId="2126987330"/>
            <ac:spMk id="16" creationId="{FDB8A015-48CE-2B9B-698F-88709B4CA87F}"/>
          </ac:spMkLst>
        </pc:spChg>
        <pc:spChg chg="add del mod ord">
          <ac:chgData name="Thompson, Neil" userId="666b3560-10c6-47c6-810b-0f5c9f3d8792" providerId="ADAL" clId="{97F2CE2F-51CF-49C4-8166-5295EBE78925}" dt="2024-11-11T19:04:31.824" v="2033" actId="700"/>
          <ac:spMkLst>
            <pc:docMk/>
            <pc:sldMk cId="2067681819" sldId="2126987330"/>
            <ac:spMk id="17" creationId="{D6251A7B-FC4C-D39B-78A7-64437198D2D8}"/>
          </ac:spMkLst>
        </pc:spChg>
        <pc:spChg chg="add mod ord">
          <ac:chgData name="Thompson, Neil" userId="666b3560-10c6-47c6-810b-0f5c9f3d8792" providerId="ADAL" clId="{97F2CE2F-51CF-49C4-8166-5295EBE78925}" dt="2024-11-11T20:10:52.333" v="2549" actId="20577"/>
          <ac:spMkLst>
            <pc:docMk/>
            <pc:sldMk cId="2067681819" sldId="2126987330"/>
            <ac:spMk id="18" creationId="{59F2A409-BDCD-77C3-E7A9-BD4D03FABCBB}"/>
          </ac:spMkLst>
        </pc:spChg>
        <pc:spChg chg="add mod ord">
          <ac:chgData name="Thompson, Neil" userId="666b3560-10c6-47c6-810b-0f5c9f3d8792" providerId="ADAL" clId="{97F2CE2F-51CF-49C4-8166-5295EBE78925}" dt="2024-11-11T19:51:06.776" v="2280" actId="14100"/>
          <ac:spMkLst>
            <pc:docMk/>
            <pc:sldMk cId="2067681819" sldId="2126987330"/>
            <ac:spMk id="19" creationId="{CE591EDB-47B8-6A93-6054-7517E1B6F004}"/>
          </ac:spMkLst>
        </pc:spChg>
        <pc:spChg chg="add mod ord">
          <ac:chgData name="Thompson, Neil" userId="666b3560-10c6-47c6-810b-0f5c9f3d8792" providerId="ADAL" clId="{97F2CE2F-51CF-49C4-8166-5295EBE78925}" dt="2024-11-11T19:47:05.352" v="2251" actId="14100"/>
          <ac:spMkLst>
            <pc:docMk/>
            <pc:sldMk cId="2067681819" sldId="2126987330"/>
            <ac:spMk id="20" creationId="{B8DA6F26-4441-A887-436B-AD5425084DB8}"/>
          </ac:spMkLst>
        </pc:spChg>
        <pc:spChg chg="add mod">
          <ac:chgData name="Thompson, Neil" userId="666b3560-10c6-47c6-810b-0f5c9f3d8792" providerId="ADAL" clId="{97F2CE2F-51CF-49C4-8166-5295EBE78925}" dt="2024-11-11T19:48:44.732" v="2267" actId="207"/>
          <ac:spMkLst>
            <pc:docMk/>
            <pc:sldMk cId="2067681819" sldId="2126987330"/>
            <ac:spMk id="21" creationId="{286887C6-F676-1089-7321-138F9FB572F6}"/>
          </ac:spMkLst>
        </pc:spChg>
        <pc:spChg chg="add mod">
          <ac:chgData name="Thompson, Neil" userId="666b3560-10c6-47c6-810b-0f5c9f3d8792" providerId="ADAL" clId="{97F2CE2F-51CF-49C4-8166-5295EBE78925}" dt="2024-11-11T20:22:14.145" v="2769" actId="20577"/>
          <ac:spMkLst>
            <pc:docMk/>
            <pc:sldMk cId="2067681819" sldId="2126987330"/>
            <ac:spMk id="22" creationId="{716D4EF6-E77D-0713-6E15-1D44A2E7CAE8}"/>
          </ac:spMkLst>
        </pc:spChg>
        <pc:spChg chg="add mod">
          <ac:chgData name="Thompson, Neil" userId="666b3560-10c6-47c6-810b-0f5c9f3d8792" providerId="ADAL" clId="{97F2CE2F-51CF-49C4-8166-5295EBE78925}" dt="2024-11-11T19:48:44.732" v="2267" actId="207"/>
          <ac:spMkLst>
            <pc:docMk/>
            <pc:sldMk cId="2067681819" sldId="2126987330"/>
            <ac:spMk id="23" creationId="{A4681C80-F40D-8CEF-65D2-A48E274F64F9}"/>
          </ac:spMkLst>
        </pc:spChg>
        <pc:spChg chg="add mod">
          <ac:chgData name="Thompson, Neil" userId="666b3560-10c6-47c6-810b-0f5c9f3d8792" providerId="ADAL" clId="{97F2CE2F-51CF-49C4-8166-5295EBE78925}" dt="2024-11-11T19:05:59.662" v="2066"/>
          <ac:spMkLst>
            <pc:docMk/>
            <pc:sldMk cId="2067681819" sldId="2126987330"/>
            <ac:spMk id="24" creationId="{E23BF18F-4D1F-FAE4-09AA-FA6D84A0CF1D}"/>
          </ac:spMkLst>
        </pc:spChg>
        <pc:spChg chg="add del">
          <ac:chgData name="Thompson, Neil" userId="666b3560-10c6-47c6-810b-0f5c9f3d8792" providerId="ADAL" clId="{97F2CE2F-51CF-49C4-8166-5295EBE78925}" dt="2024-11-11T19:34:08.478" v="2135" actId="22"/>
          <ac:spMkLst>
            <pc:docMk/>
            <pc:sldMk cId="2067681819" sldId="2126987330"/>
            <ac:spMk id="26" creationId="{186676DF-58BD-E06E-8377-49FD98BF1AB5}"/>
          </ac:spMkLst>
        </pc:spChg>
        <pc:spChg chg="add mod">
          <ac:chgData name="Thompson, Neil" userId="666b3560-10c6-47c6-810b-0f5c9f3d8792" providerId="ADAL" clId="{97F2CE2F-51CF-49C4-8166-5295EBE78925}" dt="2024-11-11T19:39:28.545" v="2172" actId="1076"/>
          <ac:spMkLst>
            <pc:docMk/>
            <pc:sldMk cId="2067681819" sldId="2126987330"/>
            <ac:spMk id="28" creationId="{1D301AF8-3BF8-0356-908C-FD2BD62B9ADE}"/>
          </ac:spMkLst>
        </pc:spChg>
        <pc:spChg chg="add mod">
          <ac:chgData name="Thompson, Neil" userId="666b3560-10c6-47c6-810b-0f5c9f3d8792" providerId="ADAL" clId="{97F2CE2F-51CF-49C4-8166-5295EBE78925}" dt="2024-11-11T19:48:44.732" v="2267" actId="207"/>
          <ac:spMkLst>
            <pc:docMk/>
            <pc:sldMk cId="2067681819" sldId="2126987330"/>
            <ac:spMk id="31" creationId="{6EC25B19-1188-E658-C41C-0A4786EAC007}"/>
          </ac:spMkLst>
        </pc:spChg>
        <pc:picChg chg="add mod">
          <ac:chgData name="Thompson, Neil" userId="666b3560-10c6-47c6-810b-0f5c9f3d8792" providerId="ADAL" clId="{97F2CE2F-51CF-49C4-8166-5295EBE78925}" dt="2024-11-11T20:05:36.937" v="2433" actId="692"/>
          <ac:picMkLst>
            <pc:docMk/>
            <pc:sldMk cId="2067681819" sldId="2126987330"/>
            <ac:picMk id="30" creationId="{330E4603-43BE-8F81-EA4E-1F9FD44A1B93}"/>
          </ac:picMkLst>
        </pc:picChg>
      </pc:sldChg>
      <pc:sldChg chg="modSp add mod">
        <pc:chgData name="Thompson, Neil" userId="666b3560-10c6-47c6-810b-0f5c9f3d8792" providerId="ADAL" clId="{97F2CE2F-51CF-49C4-8166-5295EBE78925}" dt="2024-11-11T20:22:10.824" v="2767" actId="20577"/>
        <pc:sldMkLst>
          <pc:docMk/>
          <pc:sldMk cId="2564653636" sldId="2126987331"/>
        </pc:sldMkLst>
        <pc:spChg chg="mod">
          <ac:chgData name="Thompson, Neil" userId="666b3560-10c6-47c6-810b-0f5c9f3d8792" providerId="ADAL" clId="{97F2CE2F-51CF-49C4-8166-5295EBE78925}" dt="2024-11-11T20:10:55.102" v="2551" actId="20577"/>
          <ac:spMkLst>
            <pc:docMk/>
            <pc:sldMk cId="2564653636" sldId="2126987331"/>
            <ac:spMk id="18" creationId="{6D640E99-3509-DCC3-6FCD-BE36C230F6AD}"/>
          </ac:spMkLst>
        </pc:spChg>
        <pc:spChg chg="mod">
          <ac:chgData name="Thompson, Neil" userId="666b3560-10c6-47c6-810b-0f5c9f3d8792" providerId="ADAL" clId="{97F2CE2F-51CF-49C4-8166-5295EBE78925}" dt="2024-11-11T20:21:36.193" v="2765" actId="20577"/>
          <ac:spMkLst>
            <pc:docMk/>
            <pc:sldMk cId="2564653636" sldId="2126987331"/>
            <ac:spMk id="19" creationId="{77B382C4-65B0-A7EB-2147-6051F27901B8}"/>
          </ac:spMkLst>
        </pc:spChg>
        <pc:spChg chg="mod">
          <ac:chgData name="Thompson, Neil" userId="666b3560-10c6-47c6-810b-0f5c9f3d8792" providerId="ADAL" clId="{97F2CE2F-51CF-49C4-8166-5295EBE78925}" dt="2024-11-11T19:49:25.854" v="2274" actId="207"/>
          <ac:spMkLst>
            <pc:docMk/>
            <pc:sldMk cId="2564653636" sldId="2126987331"/>
            <ac:spMk id="20" creationId="{C859F740-734A-A633-22A3-BB2F0A2713DB}"/>
          </ac:spMkLst>
        </pc:spChg>
        <pc:spChg chg="mod">
          <ac:chgData name="Thompson, Neil" userId="666b3560-10c6-47c6-810b-0f5c9f3d8792" providerId="ADAL" clId="{97F2CE2F-51CF-49C4-8166-5295EBE78925}" dt="2024-11-11T19:49:34.026" v="2275" actId="207"/>
          <ac:spMkLst>
            <pc:docMk/>
            <pc:sldMk cId="2564653636" sldId="2126987331"/>
            <ac:spMk id="21" creationId="{EEF792FD-A860-C693-C05B-B5F6B74B7ECE}"/>
          </ac:spMkLst>
        </pc:spChg>
        <pc:spChg chg="mod">
          <ac:chgData name="Thompson, Neil" userId="666b3560-10c6-47c6-810b-0f5c9f3d8792" providerId="ADAL" clId="{97F2CE2F-51CF-49C4-8166-5295EBE78925}" dt="2024-11-11T20:22:10.824" v="2767" actId="20577"/>
          <ac:spMkLst>
            <pc:docMk/>
            <pc:sldMk cId="2564653636" sldId="2126987331"/>
            <ac:spMk id="22" creationId="{DE4EC3E2-E008-4017-564A-F2FA5EBAD9DB}"/>
          </ac:spMkLst>
        </pc:spChg>
        <pc:spChg chg="mod">
          <ac:chgData name="Thompson, Neil" userId="666b3560-10c6-47c6-810b-0f5c9f3d8792" providerId="ADAL" clId="{97F2CE2F-51CF-49C4-8166-5295EBE78925}" dt="2024-11-11T19:49:06.173" v="2272" actId="207"/>
          <ac:spMkLst>
            <pc:docMk/>
            <pc:sldMk cId="2564653636" sldId="2126987331"/>
            <ac:spMk id="23" creationId="{A5935118-F4F7-3BC1-E676-B5AA2C7B7BF6}"/>
          </ac:spMkLst>
        </pc:spChg>
        <pc:spChg chg="mod">
          <ac:chgData name="Thompson, Neil" userId="666b3560-10c6-47c6-810b-0f5c9f3d8792" providerId="ADAL" clId="{97F2CE2F-51CF-49C4-8166-5295EBE78925}" dt="2024-11-11T19:49:06.173" v="2272" actId="207"/>
          <ac:spMkLst>
            <pc:docMk/>
            <pc:sldMk cId="2564653636" sldId="2126987331"/>
            <ac:spMk id="31" creationId="{7A5AA9F2-5C12-1ACE-292F-B29A677F2839}"/>
          </ac:spMkLst>
        </pc:spChg>
        <pc:picChg chg="mod">
          <ac:chgData name="Thompson, Neil" userId="666b3560-10c6-47c6-810b-0f5c9f3d8792" providerId="ADAL" clId="{97F2CE2F-51CF-49C4-8166-5295EBE78925}" dt="2024-11-11T20:05:44.639" v="2435" actId="692"/>
          <ac:picMkLst>
            <pc:docMk/>
            <pc:sldMk cId="2564653636" sldId="2126987331"/>
            <ac:picMk id="30" creationId="{94CD5856-078B-3A9B-67E0-DC54BB41D485}"/>
          </ac:picMkLst>
        </pc:picChg>
      </pc:sldChg>
      <pc:sldChg chg="add del ord">
        <pc:chgData name="Thompson, Neil" userId="666b3560-10c6-47c6-810b-0f5c9f3d8792" providerId="ADAL" clId="{97F2CE2F-51CF-49C4-8166-5295EBE78925}" dt="2024-11-11T19:08:39.989" v="2110" actId="47"/>
        <pc:sldMkLst>
          <pc:docMk/>
          <pc:sldMk cId="3174296745" sldId="2126987331"/>
        </pc:sldMkLst>
      </pc:sldChg>
      <pc:sldChg chg="modSp add mod">
        <pc:chgData name="Thompson, Neil" userId="666b3560-10c6-47c6-810b-0f5c9f3d8792" providerId="ADAL" clId="{97F2CE2F-51CF-49C4-8166-5295EBE78925}" dt="2024-11-12T11:13:52.341" v="3044" actId="20577"/>
        <pc:sldMkLst>
          <pc:docMk/>
          <pc:sldMk cId="770430780" sldId="2126987332"/>
        </pc:sldMkLst>
        <pc:spChg chg="mod">
          <ac:chgData name="Thompson, Neil" userId="666b3560-10c6-47c6-810b-0f5c9f3d8792" providerId="ADAL" clId="{97F2CE2F-51CF-49C4-8166-5295EBE78925}" dt="2024-11-11T20:10:57.892" v="2553" actId="20577"/>
          <ac:spMkLst>
            <pc:docMk/>
            <pc:sldMk cId="770430780" sldId="2126987332"/>
            <ac:spMk id="18" creationId="{A6F2CA7D-FF51-C429-6DAD-5595FDAA4352}"/>
          </ac:spMkLst>
        </pc:spChg>
        <pc:spChg chg="mod">
          <ac:chgData name="Thompson, Neil" userId="666b3560-10c6-47c6-810b-0f5c9f3d8792" providerId="ADAL" clId="{97F2CE2F-51CF-49C4-8166-5295EBE78925}" dt="2024-11-12T11:13:52.341" v="3044" actId="20577"/>
          <ac:spMkLst>
            <pc:docMk/>
            <pc:sldMk cId="770430780" sldId="2126987332"/>
            <ac:spMk id="19" creationId="{B0CB3445-724F-FA5E-0E12-D96D50D93A11}"/>
          </ac:spMkLst>
        </pc:spChg>
        <pc:spChg chg="mod">
          <ac:chgData name="Thompson, Neil" userId="666b3560-10c6-47c6-810b-0f5c9f3d8792" providerId="ADAL" clId="{97F2CE2F-51CF-49C4-8166-5295EBE78925}" dt="2024-11-11T19:57:34.832" v="2375" actId="207"/>
          <ac:spMkLst>
            <pc:docMk/>
            <pc:sldMk cId="770430780" sldId="2126987332"/>
            <ac:spMk id="21" creationId="{01B09E33-6171-3E09-CA79-348BCB2BBEF9}"/>
          </ac:spMkLst>
        </pc:spChg>
        <pc:spChg chg="mod">
          <ac:chgData name="Thompson, Neil" userId="666b3560-10c6-47c6-810b-0f5c9f3d8792" providerId="ADAL" clId="{97F2CE2F-51CF-49C4-8166-5295EBE78925}" dt="2024-11-11T20:00:29.205" v="2404" actId="20577"/>
          <ac:spMkLst>
            <pc:docMk/>
            <pc:sldMk cId="770430780" sldId="2126987332"/>
            <ac:spMk id="22" creationId="{8014B6A2-CF04-22AD-6B84-904B170D48EC}"/>
          </ac:spMkLst>
        </pc:spChg>
        <pc:picChg chg="mod">
          <ac:chgData name="Thompson, Neil" userId="666b3560-10c6-47c6-810b-0f5c9f3d8792" providerId="ADAL" clId="{97F2CE2F-51CF-49C4-8166-5295EBE78925}" dt="2024-11-11T20:05:54.588" v="2437" actId="692"/>
          <ac:picMkLst>
            <pc:docMk/>
            <pc:sldMk cId="770430780" sldId="2126987332"/>
            <ac:picMk id="30" creationId="{EB945A68-6EF5-26C5-7EB3-52F9C2F95494}"/>
          </ac:picMkLst>
        </pc:picChg>
      </pc:sldChg>
      <pc:sldChg chg="modSp add mod">
        <pc:chgData name="Thompson, Neil" userId="666b3560-10c6-47c6-810b-0f5c9f3d8792" providerId="ADAL" clId="{97F2CE2F-51CF-49C4-8166-5295EBE78925}" dt="2024-11-11T20:22:18.024" v="2771" actId="20577"/>
        <pc:sldMkLst>
          <pc:docMk/>
          <pc:sldMk cId="2023020187" sldId="2126987333"/>
        </pc:sldMkLst>
        <pc:spChg chg="mod">
          <ac:chgData name="Thompson, Neil" userId="666b3560-10c6-47c6-810b-0f5c9f3d8792" providerId="ADAL" clId="{97F2CE2F-51CF-49C4-8166-5295EBE78925}" dt="2024-11-11T20:11:00.731" v="2555" actId="20577"/>
          <ac:spMkLst>
            <pc:docMk/>
            <pc:sldMk cId="2023020187" sldId="2126987333"/>
            <ac:spMk id="18" creationId="{76AA16B9-E7DE-C0ED-803C-1A55CD8E76C5}"/>
          </ac:spMkLst>
        </pc:spChg>
        <pc:spChg chg="mod">
          <ac:chgData name="Thompson, Neil" userId="666b3560-10c6-47c6-810b-0f5c9f3d8792" providerId="ADAL" clId="{97F2CE2F-51CF-49C4-8166-5295EBE78925}" dt="2024-11-11T20:02:50.446" v="2426" actId="20577"/>
          <ac:spMkLst>
            <pc:docMk/>
            <pc:sldMk cId="2023020187" sldId="2126987333"/>
            <ac:spMk id="19" creationId="{5160B3A6-DDB3-52AE-165C-A2FB07F34720}"/>
          </ac:spMkLst>
        </pc:spChg>
        <pc:spChg chg="mod">
          <ac:chgData name="Thompson, Neil" userId="666b3560-10c6-47c6-810b-0f5c9f3d8792" providerId="ADAL" clId="{97F2CE2F-51CF-49C4-8166-5295EBE78925}" dt="2024-11-11T20:22:18.024" v="2771" actId="20577"/>
          <ac:spMkLst>
            <pc:docMk/>
            <pc:sldMk cId="2023020187" sldId="2126987333"/>
            <ac:spMk id="22" creationId="{9A280E47-4499-3272-59DC-6F4B6961AFAD}"/>
          </ac:spMkLst>
        </pc:spChg>
        <pc:spChg chg="mod">
          <ac:chgData name="Thompson, Neil" userId="666b3560-10c6-47c6-810b-0f5c9f3d8792" providerId="ADAL" clId="{97F2CE2F-51CF-49C4-8166-5295EBE78925}" dt="2024-11-11T19:59:21.525" v="2380" actId="207"/>
          <ac:spMkLst>
            <pc:docMk/>
            <pc:sldMk cId="2023020187" sldId="2126987333"/>
            <ac:spMk id="23" creationId="{BEF36627-6E4A-E6E1-FEF7-94E3B90B161E}"/>
          </ac:spMkLst>
        </pc:spChg>
        <pc:picChg chg="mod">
          <ac:chgData name="Thompson, Neil" userId="666b3560-10c6-47c6-810b-0f5c9f3d8792" providerId="ADAL" clId="{97F2CE2F-51CF-49C4-8166-5295EBE78925}" dt="2024-11-11T20:06:00.872" v="2439" actId="692"/>
          <ac:picMkLst>
            <pc:docMk/>
            <pc:sldMk cId="2023020187" sldId="2126987333"/>
            <ac:picMk id="30" creationId="{3E8F7A1B-AEC7-E8DC-A40E-2F9815E01344}"/>
          </ac:picMkLst>
        </pc:picChg>
      </pc:sldChg>
      <pc:sldChg chg="modSp add mod">
        <pc:chgData name="Thompson, Neil" userId="666b3560-10c6-47c6-810b-0f5c9f3d8792" providerId="ADAL" clId="{97F2CE2F-51CF-49C4-8166-5295EBE78925}" dt="2024-11-11T20:22:21.407" v="2773" actId="20577"/>
        <pc:sldMkLst>
          <pc:docMk/>
          <pc:sldMk cId="801153496" sldId="2126987334"/>
        </pc:sldMkLst>
        <pc:spChg chg="mod">
          <ac:chgData name="Thompson, Neil" userId="666b3560-10c6-47c6-810b-0f5c9f3d8792" providerId="ADAL" clId="{97F2CE2F-51CF-49C4-8166-5295EBE78925}" dt="2024-11-11T20:11:04.380" v="2557" actId="20577"/>
          <ac:spMkLst>
            <pc:docMk/>
            <pc:sldMk cId="801153496" sldId="2126987334"/>
            <ac:spMk id="18" creationId="{9F5CCA12-3522-613A-003E-7297DC7CAE9B}"/>
          </ac:spMkLst>
        </pc:spChg>
        <pc:spChg chg="mod">
          <ac:chgData name="Thompson, Neil" userId="666b3560-10c6-47c6-810b-0f5c9f3d8792" providerId="ADAL" clId="{97F2CE2F-51CF-49C4-8166-5295EBE78925}" dt="2024-11-11T20:09:26.769" v="2499" actId="20577"/>
          <ac:spMkLst>
            <pc:docMk/>
            <pc:sldMk cId="801153496" sldId="2126987334"/>
            <ac:spMk id="19" creationId="{E41A4C0D-B6E3-6BBF-17E9-4958059FAFD3}"/>
          </ac:spMkLst>
        </pc:spChg>
        <pc:spChg chg="mod">
          <ac:chgData name="Thompson, Neil" userId="666b3560-10c6-47c6-810b-0f5c9f3d8792" providerId="ADAL" clId="{97F2CE2F-51CF-49C4-8166-5295EBE78925}" dt="2024-11-11T20:22:21.407" v="2773" actId="20577"/>
          <ac:spMkLst>
            <pc:docMk/>
            <pc:sldMk cId="801153496" sldId="2126987334"/>
            <ac:spMk id="22" creationId="{DCF04FEE-C4AF-11D9-F8E9-68086624A535}"/>
          </ac:spMkLst>
        </pc:spChg>
        <pc:spChg chg="mod">
          <ac:chgData name="Thompson, Neil" userId="666b3560-10c6-47c6-810b-0f5c9f3d8792" providerId="ADAL" clId="{97F2CE2F-51CF-49C4-8166-5295EBE78925}" dt="2024-11-11T20:03:10.317" v="2428" actId="207"/>
          <ac:spMkLst>
            <pc:docMk/>
            <pc:sldMk cId="801153496" sldId="2126987334"/>
            <ac:spMk id="23" creationId="{957F976A-B0C9-8E7C-5FB0-6A3D7A71BB2C}"/>
          </ac:spMkLst>
        </pc:spChg>
        <pc:spChg chg="mod">
          <ac:chgData name="Thompson, Neil" userId="666b3560-10c6-47c6-810b-0f5c9f3d8792" providerId="ADAL" clId="{97F2CE2F-51CF-49C4-8166-5295EBE78925}" dt="2024-11-11T20:03:16.512" v="2430" actId="207"/>
          <ac:spMkLst>
            <pc:docMk/>
            <pc:sldMk cId="801153496" sldId="2126987334"/>
            <ac:spMk id="31" creationId="{A7A8212F-880F-D208-A1BA-1CF4D39300B5}"/>
          </ac:spMkLst>
        </pc:spChg>
        <pc:picChg chg="mod">
          <ac:chgData name="Thompson, Neil" userId="666b3560-10c6-47c6-810b-0f5c9f3d8792" providerId="ADAL" clId="{97F2CE2F-51CF-49C4-8166-5295EBE78925}" dt="2024-11-11T20:06:06.747" v="2441" actId="692"/>
          <ac:picMkLst>
            <pc:docMk/>
            <pc:sldMk cId="801153496" sldId="2126987334"/>
            <ac:picMk id="30" creationId="{50FDCB9E-7F0A-89CA-11DB-24F194FB4BDB}"/>
          </ac:picMkLst>
        </pc:picChg>
      </pc:sldChg>
      <pc:sldChg chg="modSp add ord modNotesTx">
        <pc:chgData name="Thompson, Neil" userId="666b3560-10c6-47c6-810b-0f5c9f3d8792" providerId="ADAL" clId="{97F2CE2F-51CF-49C4-8166-5295EBE78925}" dt="2024-11-15T19:29:24.645" v="3064"/>
        <pc:sldMkLst>
          <pc:docMk/>
          <pc:sldMk cId="1240002083" sldId="2126987335"/>
        </pc:sldMkLst>
        <pc:picChg chg="mod">
          <ac:chgData name="Thompson, Neil" userId="666b3560-10c6-47c6-810b-0f5c9f3d8792" providerId="ADAL" clId="{97F2CE2F-51CF-49C4-8166-5295EBE78925}" dt="2024-11-15T19:06:08.211" v="3062" actId="14826"/>
          <ac:picMkLst>
            <pc:docMk/>
            <pc:sldMk cId="1240002083" sldId="2126987335"/>
            <ac:picMk id="13" creationId="{F16BC5D4-6BEB-B2C6-4D1F-4764693B8136}"/>
          </ac:picMkLst>
        </pc:picChg>
      </pc:sldChg>
      <pc:sldMasterChg chg="delSldLayout">
        <pc:chgData name="Thompson, Neil" userId="666b3560-10c6-47c6-810b-0f5c9f3d8792" providerId="ADAL" clId="{97F2CE2F-51CF-49C4-8166-5295EBE78925}" dt="2024-11-03T19:32:13.908" v="1445" actId="47"/>
        <pc:sldMasterMkLst>
          <pc:docMk/>
          <pc:sldMasterMk cId="3126601507" sldId="2147483648"/>
        </pc:sldMasterMkLst>
        <pc:sldLayoutChg chg="del">
          <pc:chgData name="Thompson, Neil" userId="666b3560-10c6-47c6-810b-0f5c9f3d8792" providerId="ADAL" clId="{97F2CE2F-51CF-49C4-8166-5295EBE78925}" dt="2024-11-03T19:32:13.908" v="1445" actId="47"/>
          <pc:sldLayoutMkLst>
            <pc:docMk/>
            <pc:sldMasterMk cId="3126601507" sldId="2147483648"/>
            <pc:sldLayoutMk cId="274451624" sldId="214748373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F5A463B-556D-93D0-5317-07185EFCF7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5F84F799-F023-BF1A-5229-01F54255FD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432C0C2-3B85-4DC3-9B04-6B0F38B9F89A}" type="datetimeFigureOut">
              <a:rPr lang="de-DE" smtClean="0"/>
              <a:t>30.11.2024</a:t>
            </a:fld>
            <a:endParaRPr lang="de-DE" dirty="0"/>
          </a:p>
        </p:txBody>
      </p:sp>
      <p:sp>
        <p:nvSpPr>
          <p:cNvPr id="4" name="Fußzeilenplatzhalter 3">
            <a:extLst>
              <a:ext uri="{FF2B5EF4-FFF2-40B4-BE49-F238E27FC236}">
                <a16:creationId xmlns:a16="http://schemas.microsoft.com/office/drawing/2014/main" id="{7F701A13-5A40-7D44-2735-DF9079FA63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B4FF2B35-0513-F453-6370-C09EBD6A152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49B76B2-F952-4FC6-AB1B-914058B87E0E}" type="slidenum">
              <a:rPr lang="de-DE" smtClean="0"/>
              <a:t>‹#›</a:t>
            </a:fld>
            <a:endParaRPr lang="de-DE" dirty="0"/>
          </a:p>
        </p:txBody>
      </p:sp>
    </p:spTree>
    <p:extLst>
      <p:ext uri="{BB962C8B-B14F-4D97-AF65-F5344CB8AC3E}">
        <p14:creationId xmlns:p14="http://schemas.microsoft.com/office/powerpoint/2010/main" val="183146466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884513-9EE7-4570-9463-454E34DCF11A}" type="datetimeFigureOut">
              <a:rPr lang="de-DE" smtClean="0"/>
              <a:t>30.11.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B15B86-AAC2-4FA5-91A5-DC2D068AE7B5}" type="slidenum">
              <a:rPr lang="de-DE" smtClean="0"/>
              <a:t>‹#›</a:t>
            </a:fld>
            <a:endParaRPr lang="de-DE" dirty="0"/>
          </a:p>
        </p:txBody>
      </p:sp>
    </p:spTree>
    <p:extLst>
      <p:ext uri="{BB962C8B-B14F-4D97-AF65-F5344CB8AC3E}">
        <p14:creationId xmlns:p14="http://schemas.microsoft.com/office/powerpoint/2010/main" val="19611565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6030A-24F5-96C3-FFE8-DBFC74BDDF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6E0FE-BA38-DD19-8FB2-5EEE10FD9E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EBA8E7-2DF2-FD74-D748-89AFBAB7C7B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8C8FD11-1F9B-D263-E65C-31FB8D309D95}"/>
              </a:ext>
            </a:extLst>
          </p:cNvPr>
          <p:cNvSpPr>
            <a:spLocks noGrp="1"/>
          </p:cNvSpPr>
          <p:nvPr>
            <p:ph type="sldNum" sz="quarter" idx="5"/>
          </p:nvPr>
        </p:nvSpPr>
        <p:spPr/>
        <p:txBody>
          <a:bodyPr/>
          <a:lstStyle/>
          <a:p>
            <a:fld id="{33B15B86-AAC2-4FA5-91A5-DC2D068AE7B5}" type="slidenum">
              <a:rPr lang="de-DE" smtClean="0"/>
              <a:t>2</a:t>
            </a:fld>
            <a:endParaRPr lang="de-DE" dirty="0"/>
          </a:p>
        </p:txBody>
      </p:sp>
    </p:spTree>
    <p:extLst>
      <p:ext uri="{BB962C8B-B14F-4D97-AF65-F5344CB8AC3E}">
        <p14:creationId xmlns:p14="http://schemas.microsoft.com/office/powerpoint/2010/main" val="3547285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EC1AA-97F3-C959-BE0D-83050406B2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2D7333-84CA-3CB2-53DE-09497AAA9E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62B484-F890-282C-0203-3F6E677505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E55D7F-6331-F29D-93B0-C99C2411BE74}"/>
              </a:ext>
            </a:extLst>
          </p:cNvPr>
          <p:cNvSpPr>
            <a:spLocks noGrp="1"/>
          </p:cNvSpPr>
          <p:nvPr>
            <p:ph type="sldNum" sz="quarter" idx="5"/>
          </p:nvPr>
        </p:nvSpPr>
        <p:spPr/>
        <p:txBody>
          <a:bodyPr/>
          <a:lstStyle/>
          <a:p>
            <a:fld id="{33B15B86-AAC2-4FA5-91A5-DC2D068AE7B5}" type="slidenum">
              <a:rPr lang="de-DE" smtClean="0"/>
              <a:t>11</a:t>
            </a:fld>
            <a:endParaRPr lang="de-DE" dirty="0"/>
          </a:p>
        </p:txBody>
      </p:sp>
    </p:spTree>
    <p:extLst>
      <p:ext uri="{BB962C8B-B14F-4D97-AF65-F5344CB8AC3E}">
        <p14:creationId xmlns:p14="http://schemas.microsoft.com/office/powerpoint/2010/main" val="2616015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9D4E7-4E17-259D-187F-8C6B275693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351589-FCA3-ECD6-38DA-01847B51BF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012ED7-104F-2EA0-1697-5A42320EC49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ating and Optimizing a Simple FPS Game</a:t>
            </a:r>
            <a:br>
              <a:rPr lang="en-US" dirty="0"/>
            </a:br>
            <a:br>
              <a:rPr lang="en-US" dirty="0"/>
            </a:br>
            <a:r>
              <a:rPr lang="en-US" b="1" dirty="0"/>
              <a:t>Objective</a:t>
            </a:r>
            <a:r>
              <a:rPr lang="en-US" dirty="0"/>
              <a:t>: Build a small FPS game with core mechanics, integrating optimizations along the way.</a:t>
            </a:r>
            <a:br>
              <a:rPr lang="en-US" dirty="0"/>
            </a:br>
            <a:br>
              <a:rPr lang="en-US" dirty="0"/>
            </a:br>
            <a:r>
              <a:rPr lang="en-US" dirty="0"/>
              <a:t>Import </a:t>
            </a:r>
            <a:r>
              <a:rPr lang="en-US" b="1" i="0" dirty="0">
                <a:solidFill>
                  <a:srgbClr val="212121"/>
                </a:solidFill>
                <a:effectLst/>
                <a:latin typeface="Inter"/>
              </a:rPr>
              <a:t>Cartoon low poly tree</a:t>
            </a:r>
            <a:br>
              <a:rPr lang="en-US" dirty="0"/>
            </a:br>
            <a:br>
              <a:rPr lang="en-US" dirty="0"/>
            </a:br>
            <a:r>
              <a:rPr lang="en-US" b="1" dirty="0"/>
              <a:t>Game Overview</a:t>
            </a:r>
            <a:r>
              <a:rPr lang="en-US" dirty="0"/>
              <a:t>: This simple FPS game will include player movement, aiming, shooting mechanics, enemy AI, and score tracking. We'll implement object pooling to optimize bullet handling, and use lightweight colliders and other best practices to ensure smooth performance.</a:t>
            </a:r>
          </a:p>
          <a:p>
            <a:endParaRPr lang="en-US" dirty="0"/>
          </a:p>
        </p:txBody>
      </p:sp>
      <p:sp>
        <p:nvSpPr>
          <p:cNvPr id="4" name="Slide Number Placeholder 3">
            <a:extLst>
              <a:ext uri="{FF2B5EF4-FFF2-40B4-BE49-F238E27FC236}">
                <a16:creationId xmlns:a16="http://schemas.microsoft.com/office/drawing/2014/main" id="{D07C40D7-841B-46A8-529E-FA784C41E09F}"/>
              </a:ext>
            </a:extLst>
          </p:cNvPr>
          <p:cNvSpPr>
            <a:spLocks noGrp="1"/>
          </p:cNvSpPr>
          <p:nvPr>
            <p:ph type="sldNum" sz="quarter" idx="5"/>
          </p:nvPr>
        </p:nvSpPr>
        <p:spPr/>
        <p:txBody>
          <a:bodyPr/>
          <a:lstStyle/>
          <a:p>
            <a:fld id="{33B15B86-AAC2-4FA5-91A5-DC2D068AE7B5}" type="slidenum">
              <a:rPr lang="de-DE" smtClean="0"/>
              <a:t>13</a:t>
            </a:fld>
            <a:endParaRPr lang="de-DE" dirty="0"/>
          </a:p>
        </p:txBody>
      </p:sp>
    </p:spTree>
    <p:extLst>
      <p:ext uri="{BB962C8B-B14F-4D97-AF65-F5344CB8AC3E}">
        <p14:creationId xmlns:p14="http://schemas.microsoft.com/office/powerpoint/2010/main" val="3578970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488BA-DF7A-F590-9316-37A4C0761D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307260-64E6-96D3-35B0-E96E85AB95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6B61B6-5445-F0AA-F44C-D3F6E1A2004B}"/>
              </a:ext>
            </a:extLst>
          </p:cNvPr>
          <p:cNvSpPr>
            <a:spLocks noGrp="1"/>
          </p:cNvSpPr>
          <p:nvPr>
            <p:ph type="body" idx="1"/>
          </p:nvPr>
        </p:nvSpPr>
        <p:spPr/>
        <p:txBody>
          <a:bodyPr/>
          <a:lstStyle/>
          <a:p>
            <a:r>
              <a:rPr lang="en-US" dirty="0"/>
              <a:t>Sponsors</a:t>
            </a:r>
          </a:p>
        </p:txBody>
      </p:sp>
      <p:sp>
        <p:nvSpPr>
          <p:cNvPr id="4" name="Slide Number Placeholder 3">
            <a:extLst>
              <a:ext uri="{FF2B5EF4-FFF2-40B4-BE49-F238E27FC236}">
                <a16:creationId xmlns:a16="http://schemas.microsoft.com/office/drawing/2014/main" id="{4A691FF7-151D-C447-8A2A-A09736C2EA23}"/>
              </a:ext>
            </a:extLst>
          </p:cNvPr>
          <p:cNvSpPr>
            <a:spLocks noGrp="1"/>
          </p:cNvSpPr>
          <p:nvPr>
            <p:ph type="sldNum" sz="quarter" idx="5"/>
          </p:nvPr>
        </p:nvSpPr>
        <p:spPr/>
        <p:txBody>
          <a:bodyPr/>
          <a:lstStyle/>
          <a:p>
            <a:fld id="{33B15B86-AAC2-4FA5-91A5-DC2D068AE7B5}" type="slidenum">
              <a:rPr lang="de-DE" smtClean="0"/>
              <a:t>3</a:t>
            </a:fld>
            <a:endParaRPr lang="de-DE" dirty="0"/>
          </a:p>
        </p:txBody>
      </p:sp>
    </p:spTree>
    <p:extLst>
      <p:ext uri="{BB962C8B-B14F-4D97-AF65-F5344CB8AC3E}">
        <p14:creationId xmlns:p14="http://schemas.microsoft.com/office/powerpoint/2010/main" val="1576810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0B63B-8E12-58E5-30F4-19AB950F7E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193D8-2655-D198-EAFD-B820860570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34C47C-D4C3-24CA-750B-828DC3010B42}"/>
              </a:ext>
            </a:extLst>
          </p:cNvPr>
          <p:cNvSpPr>
            <a:spLocks noGrp="1"/>
          </p:cNvSpPr>
          <p:nvPr>
            <p:ph type="body" idx="1"/>
          </p:nvPr>
        </p:nvSpPr>
        <p:spPr/>
        <p:txBody>
          <a:bodyPr/>
          <a:lstStyle/>
          <a:p>
            <a:r>
              <a:rPr lang="en-US" dirty="0"/>
              <a:t>Unified Platform – Develop Anything – Generated by ChatGPT</a:t>
            </a:r>
          </a:p>
        </p:txBody>
      </p:sp>
      <p:sp>
        <p:nvSpPr>
          <p:cNvPr id="4" name="Slide Number Placeholder 3">
            <a:extLst>
              <a:ext uri="{FF2B5EF4-FFF2-40B4-BE49-F238E27FC236}">
                <a16:creationId xmlns:a16="http://schemas.microsoft.com/office/drawing/2014/main" id="{97A841ED-58D5-4F06-C6E4-ECEA05D3121E}"/>
              </a:ext>
            </a:extLst>
          </p:cNvPr>
          <p:cNvSpPr>
            <a:spLocks noGrp="1"/>
          </p:cNvSpPr>
          <p:nvPr>
            <p:ph type="sldNum" sz="quarter" idx="5"/>
          </p:nvPr>
        </p:nvSpPr>
        <p:spPr/>
        <p:txBody>
          <a:bodyPr/>
          <a:lstStyle/>
          <a:p>
            <a:fld id="{33B15B86-AAC2-4FA5-91A5-DC2D068AE7B5}" type="slidenum">
              <a:rPr lang="de-DE" smtClean="0"/>
              <a:t>4</a:t>
            </a:fld>
            <a:endParaRPr lang="de-DE" dirty="0"/>
          </a:p>
        </p:txBody>
      </p:sp>
    </p:spTree>
    <p:extLst>
      <p:ext uri="{BB962C8B-B14F-4D97-AF65-F5344CB8AC3E}">
        <p14:creationId xmlns:p14="http://schemas.microsoft.com/office/powerpoint/2010/main" val="2566041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6BCDE-858A-702F-3045-F741DAADD8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8EE0E5-32A0-6AB4-AB2E-71E865CEB9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074D6C-A481-2F31-3525-692268A21C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25BF8FE-391D-880B-2FA3-5AF2C12EA4B9}"/>
              </a:ext>
            </a:extLst>
          </p:cNvPr>
          <p:cNvSpPr>
            <a:spLocks noGrp="1"/>
          </p:cNvSpPr>
          <p:nvPr>
            <p:ph type="sldNum" sz="quarter" idx="5"/>
          </p:nvPr>
        </p:nvSpPr>
        <p:spPr/>
        <p:txBody>
          <a:bodyPr/>
          <a:lstStyle/>
          <a:p>
            <a:fld id="{33B15B86-AAC2-4FA5-91A5-DC2D068AE7B5}" type="slidenum">
              <a:rPr lang="de-DE" smtClean="0"/>
              <a:t>5</a:t>
            </a:fld>
            <a:endParaRPr lang="de-DE" dirty="0"/>
          </a:p>
        </p:txBody>
      </p:sp>
    </p:spTree>
    <p:extLst>
      <p:ext uri="{BB962C8B-B14F-4D97-AF65-F5344CB8AC3E}">
        <p14:creationId xmlns:p14="http://schemas.microsoft.com/office/powerpoint/2010/main" val="3775301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B15B86-AAC2-4FA5-91A5-DC2D068AE7B5}" type="slidenum">
              <a:rPr lang="de-DE" smtClean="0"/>
              <a:t>6</a:t>
            </a:fld>
            <a:endParaRPr lang="de-DE" dirty="0"/>
          </a:p>
        </p:txBody>
      </p:sp>
    </p:spTree>
    <p:extLst>
      <p:ext uri="{BB962C8B-B14F-4D97-AF65-F5344CB8AC3E}">
        <p14:creationId xmlns:p14="http://schemas.microsoft.com/office/powerpoint/2010/main" val="1941999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B15B86-AAC2-4FA5-91A5-DC2D068AE7B5}" type="slidenum">
              <a:rPr lang="de-DE" smtClean="0"/>
              <a:t>7</a:t>
            </a:fld>
            <a:endParaRPr lang="de-DE" dirty="0"/>
          </a:p>
        </p:txBody>
      </p:sp>
    </p:spTree>
    <p:extLst>
      <p:ext uri="{BB962C8B-B14F-4D97-AF65-F5344CB8AC3E}">
        <p14:creationId xmlns:p14="http://schemas.microsoft.com/office/powerpoint/2010/main" val="1310722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4A9CD-B58D-B9EE-4940-3C2BC60C39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322D80-72C3-0BFB-A467-AFB23CAE45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2EDC2-B740-7A59-1316-B82609D3B63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279A61F-C47E-D5DF-E320-04B8756C1401}"/>
              </a:ext>
            </a:extLst>
          </p:cNvPr>
          <p:cNvSpPr>
            <a:spLocks noGrp="1"/>
          </p:cNvSpPr>
          <p:nvPr>
            <p:ph type="sldNum" sz="quarter" idx="5"/>
          </p:nvPr>
        </p:nvSpPr>
        <p:spPr/>
        <p:txBody>
          <a:bodyPr/>
          <a:lstStyle/>
          <a:p>
            <a:fld id="{33B15B86-AAC2-4FA5-91A5-DC2D068AE7B5}" type="slidenum">
              <a:rPr lang="de-DE" smtClean="0"/>
              <a:t>8</a:t>
            </a:fld>
            <a:endParaRPr lang="de-DE" dirty="0"/>
          </a:p>
        </p:txBody>
      </p:sp>
    </p:spTree>
    <p:extLst>
      <p:ext uri="{BB962C8B-B14F-4D97-AF65-F5344CB8AC3E}">
        <p14:creationId xmlns:p14="http://schemas.microsoft.com/office/powerpoint/2010/main" val="2336140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1D9B3-C0B2-B711-59B3-98F128292B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087880-2B81-53CF-FE81-1A9F31310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34C0C6-2AFE-A343-F560-71903270439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AB322D-F4A9-6D3C-A955-553DDFFAAB54}"/>
              </a:ext>
            </a:extLst>
          </p:cNvPr>
          <p:cNvSpPr>
            <a:spLocks noGrp="1"/>
          </p:cNvSpPr>
          <p:nvPr>
            <p:ph type="sldNum" sz="quarter" idx="5"/>
          </p:nvPr>
        </p:nvSpPr>
        <p:spPr/>
        <p:txBody>
          <a:bodyPr/>
          <a:lstStyle/>
          <a:p>
            <a:fld id="{33B15B86-AAC2-4FA5-91A5-DC2D068AE7B5}" type="slidenum">
              <a:rPr lang="de-DE" smtClean="0"/>
              <a:t>9</a:t>
            </a:fld>
            <a:endParaRPr lang="de-DE" dirty="0"/>
          </a:p>
        </p:txBody>
      </p:sp>
    </p:spTree>
    <p:extLst>
      <p:ext uri="{BB962C8B-B14F-4D97-AF65-F5344CB8AC3E}">
        <p14:creationId xmlns:p14="http://schemas.microsoft.com/office/powerpoint/2010/main" val="508199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6FFFF-5C23-FEC6-1FCE-67B7C4772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AB0B70-A5BF-8680-5F75-8C291153B1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85FE79-5B0C-AAF3-A987-1C3717A6F7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0AD257B-BAC6-1DC6-4C4E-530BB766ED2A}"/>
              </a:ext>
            </a:extLst>
          </p:cNvPr>
          <p:cNvSpPr>
            <a:spLocks noGrp="1"/>
          </p:cNvSpPr>
          <p:nvPr>
            <p:ph type="sldNum" sz="quarter" idx="5"/>
          </p:nvPr>
        </p:nvSpPr>
        <p:spPr/>
        <p:txBody>
          <a:bodyPr/>
          <a:lstStyle/>
          <a:p>
            <a:fld id="{33B15B86-AAC2-4FA5-91A5-DC2D068AE7B5}" type="slidenum">
              <a:rPr lang="de-DE" smtClean="0"/>
              <a:t>10</a:t>
            </a:fld>
            <a:endParaRPr lang="de-DE" dirty="0"/>
          </a:p>
        </p:txBody>
      </p:sp>
    </p:spTree>
    <p:extLst>
      <p:ext uri="{BB962C8B-B14F-4D97-AF65-F5344CB8AC3E}">
        <p14:creationId xmlns:p14="http://schemas.microsoft.com/office/powerpoint/2010/main" val="3339209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8.emf"/><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7.svg"/><Relationship Id="rId2" Type="http://schemas.openxmlformats.org/officeDocument/2006/relationships/image" Target="../media/image5.emf"/><Relationship Id="rId16"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microsoft.com/office/2007/relationships/hdphoto" Target="../media/hdphoto1.wdp"/><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7.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6.png"/><Relationship Id="rId2" Type="http://schemas.openxmlformats.org/officeDocument/2006/relationships/image" Target="../media/image5.emf"/><Relationship Id="rId16" Type="http://schemas.openxmlformats.org/officeDocument/2006/relationships/image" Target="../media/image27.svg"/><Relationship Id="rId1" Type="http://schemas.openxmlformats.org/officeDocument/2006/relationships/slideMaster" Target="../slideMasters/slideMaster1.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6.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8.emf"/><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7.svg"/><Relationship Id="rId2" Type="http://schemas.openxmlformats.org/officeDocument/2006/relationships/image" Target="../media/image5.emf"/><Relationship Id="rId16"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microsoft.com/office/2007/relationships/hdphoto" Target="../media/hdphoto1.wdp"/><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4" name="Untertitel 2">
            <a:extLst>
              <a:ext uri="{FF2B5EF4-FFF2-40B4-BE49-F238E27FC236}">
                <a16:creationId xmlns:a16="http://schemas.microsoft.com/office/drawing/2014/main" id="{BE987C8D-600E-9043-3AFA-296CBCCE53E0}"/>
              </a:ext>
            </a:extLst>
          </p:cNvPr>
          <p:cNvSpPr>
            <a:spLocks noGrp="1"/>
          </p:cNvSpPr>
          <p:nvPr>
            <p:ph type="subTitle" idx="1" hasCustomPrompt="1"/>
          </p:nvPr>
        </p:nvSpPr>
        <p:spPr bwMode="black">
          <a:xfrm>
            <a:off x="695325" y="5240858"/>
            <a:ext cx="6984851" cy="360000"/>
          </a:xfrm>
        </p:spPr>
        <p:txBody>
          <a:bodyPr/>
          <a:lstStyle>
            <a:lvl1pPr marL="0" indent="0" algn="l">
              <a:spcBef>
                <a:spcPts val="0"/>
              </a:spcBef>
              <a:spcAft>
                <a:spcPts val="0"/>
              </a:spcAft>
              <a:buNone/>
              <a:defRPr sz="2400" cap="none" baseline="0">
                <a:solidFill>
                  <a:srgbClr val="2DFA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Software Engineering  |  Digitale Transformation</a:t>
            </a:r>
          </a:p>
        </p:txBody>
      </p:sp>
      <p:sp>
        <p:nvSpPr>
          <p:cNvPr id="5" name="Textplatzhalter 2">
            <a:extLst>
              <a:ext uri="{FF2B5EF4-FFF2-40B4-BE49-F238E27FC236}">
                <a16:creationId xmlns:a16="http://schemas.microsoft.com/office/drawing/2014/main" id="{DD1E4018-114F-0DDB-12BD-4B79C44BA158}"/>
              </a:ext>
            </a:extLst>
          </p:cNvPr>
          <p:cNvSpPr>
            <a:spLocks noGrp="1"/>
          </p:cNvSpPr>
          <p:nvPr>
            <p:ph type="body" idx="13"/>
          </p:nvPr>
        </p:nvSpPr>
        <p:spPr bwMode="black">
          <a:xfrm>
            <a:off x="720000" y="5759999"/>
            <a:ext cx="6455324" cy="205983"/>
          </a:xfrm>
        </p:spPr>
        <p:txBody>
          <a:bodyPr anchor="t"/>
          <a:lstStyle>
            <a:lvl1pPr marL="0" indent="0">
              <a:spcBef>
                <a:spcPts val="0"/>
              </a:spcBef>
              <a:spcAft>
                <a:spcPts val="0"/>
              </a:spcAft>
              <a:buNone/>
              <a:defRPr sz="1400" b="0" cap="none" spc="12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a:noFill/>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10613601" y="548680"/>
            <a:ext cx="912923" cy="210675"/>
          </a:xfrm>
          <a:prstGeom prst="rect">
            <a:avLst/>
          </a:prstGeom>
        </p:spPr>
      </p:pic>
      <p:pic>
        <p:nvPicPr>
          <p:cNvPr id="11" name="Grafik 10">
            <a:extLst>
              <a:ext uri="{FF2B5EF4-FFF2-40B4-BE49-F238E27FC236}">
                <a16:creationId xmlns:a16="http://schemas.microsoft.com/office/drawing/2014/main" id="{EA91479E-2217-114A-59C4-14643B3F52C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63105" y="1446055"/>
            <a:ext cx="3605303" cy="2412000"/>
          </a:xfrm>
          <a:prstGeom prst="rect">
            <a:avLst/>
          </a:prstGeom>
        </p:spPr>
      </p:pic>
      <p:sp>
        <p:nvSpPr>
          <p:cNvPr id="18" name="Bildplatzhalter 17">
            <a:extLst>
              <a:ext uri="{FF2B5EF4-FFF2-40B4-BE49-F238E27FC236}">
                <a16:creationId xmlns:a16="http://schemas.microsoft.com/office/drawing/2014/main" id="{2992187F-8C96-ADCF-3926-17A03F0711F1}"/>
              </a:ext>
            </a:extLst>
          </p:cNvPr>
          <p:cNvSpPr>
            <a:spLocks noGrp="1" noChangeAspect="1"/>
          </p:cNvSpPr>
          <p:nvPr>
            <p:ph type="pic" sz="quarter" idx="16"/>
          </p:nvPr>
        </p:nvSpPr>
        <p:spPr>
          <a:xfrm>
            <a:off x="7889807" y="2251897"/>
            <a:ext cx="3509056" cy="2332800"/>
          </a:xfrm>
          <a:custGeom>
            <a:avLst/>
            <a:gdLst>
              <a:gd name="connsiteX0" fmla="*/ 657846 w 3556819"/>
              <a:gd name="connsiteY0" fmla="*/ 0 h 2364553"/>
              <a:gd name="connsiteX1" fmla="*/ 3161367 w 3556819"/>
              <a:gd name="connsiteY1" fmla="*/ 0 h 2364553"/>
              <a:gd name="connsiteX2" fmla="*/ 3535310 w 3556819"/>
              <a:gd name="connsiteY2" fmla="*/ 521946 h 2364553"/>
              <a:gd name="connsiteX3" fmla="*/ 2898973 w 3556819"/>
              <a:gd name="connsiteY3" fmla="*/ 2364553 h 2364553"/>
              <a:gd name="connsiteX4" fmla="*/ 395451 w 3556819"/>
              <a:gd name="connsiteY4" fmla="*/ 2364553 h 2364553"/>
              <a:gd name="connsiteX5" fmla="*/ 21508 w 3556819"/>
              <a:gd name="connsiteY5" fmla="*/ 1842607 h 236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6819" h="2364553">
                <a:moveTo>
                  <a:pt x="657846" y="0"/>
                </a:moveTo>
                <a:lnTo>
                  <a:pt x="3161367" y="0"/>
                </a:lnTo>
                <a:cubicBezTo>
                  <a:pt x="3432635" y="0"/>
                  <a:pt x="3622776" y="266660"/>
                  <a:pt x="3535310" y="521946"/>
                </a:cubicBezTo>
                <a:lnTo>
                  <a:pt x="2898973" y="2364553"/>
                </a:lnTo>
                <a:lnTo>
                  <a:pt x="395451" y="2364553"/>
                </a:lnTo>
                <a:cubicBezTo>
                  <a:pt x="124184" y="2364553"/>
                  <a:pt x="-65957" y="2097893"/>
                  <a:pt x="21508" y="1842607"/>
                </a:cubicBezTo>
                <a:close/>
              </a:path>
            </a:pathLst>
          </a:custGeom>
          <a:noFill/>
          <a:ln w="50800">
            <a:solidFill>
              <a:srgbClr val="2DFA87"/>
            </a:solidFill>
          </a:ln>
        </p:spPr>
        <p:txBody>
          <a:bodyPr wrap="square">
            <a:noAutofit/>
          </a:bodyPr>
          <a:lstStyle/>
          <a:p>
            <a:r>
              <a:rPr lang="en-US"/>
              <a:t>Click icon to add picture</a:t>
            </a:r>
            <a:endParaRPr lang="de-DE" dirty="0"/>
          </a:p>
        </p:txBody>
      </p:sp>
    </p:spTree>
    <p:extLst>
      <p:ext uri="{BB962C8B-B14F-4D97-AF65-F5344CB8AC3E}">
        <p14:creationId xmlns:p14="http://schemas.microsoft.com/office/powerpoint/2010/main" val="14970266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B41DD56-330B-3E63-48C1-14AE1A2A6A3A}"/>
              </a:ext>
            </a:extLst>
          </p:cNvPr>
          <p:cNvSpPr>
            <a:spLocks noGrp="1"/>
          </p:cNvSpPr>
          <p:nvPr>
            <p:ph type="dt" sz="half" idx="10"/>
          </p:nvPr>
        </p:nvSpPr>
        <p:spPr bwMode="gray"/>
        <p:txBody>
          <a:bodyPr/>
          <a:lstStyle/>
          <a:p>
            <a:fld id="{9E2B9F34-56FA-484F-BF35-683BE469C0E3}" type="datetime1">
              <a:rPr lang="de-DE" smtClean="0"/>
              <a:pPr/>
              <a:t>30.11.2024</a:t>
            </a:fld>
            <a:endParaRPr lang="de-DE" dirty="0"/>
          </a:p>
        </p:txBody>
      </p:sp>
      <p:sp>
        <p:nvSpPr>
          <p:cNvPr id="4" name="Fußzeilenplatzhalter 3">
            <a:extLst>
              <a:ext uri="{FF2B5EF4-FFF2-40B4-BE49-F238E27FC236}">
                <a16:creationId xmlns:a16="http://schemas.microsoft.com/office/drawing/2014/main" id="{05BF1DC3-5146-4E5D-16FA-A82C5C9FEC26}"/>
              </a:ext>
            </a:extLst>
          </p:cNvPr>
          <p:cNvSpPr>
            <a:spLocks noGrp="1"/>
          </p:cNvSpPr>
          <p:nvPr>
            <p:ph type="ftr" sz="quarter" idx="11"/>
          </p:nvPr>
        </p:nvSpPr>
        <p:spPr bwMode="gray"/>
        <p:txBody>
          <a:bodyPr/>
          <a:lstStyle/>
          <a:p>
            <a:r>
              <a:rPr lang="de-DE" dirty="0"/>
              <a:t>Unternehmenspräsentation</a:t>
            </a:r>
          </a:p>
        </p:txBody>
      </p:sp>
      <p:sp>
        <p:nvSpPr>
          <p:cNvPr id="5" name="Foliennummernplatzhalter 4">
            <a:extLst>
              <a:ext uri="{FF2B5EF4-FFF2-40B4-BE49-F238E27FC236}">
                <a16:creationId xmlns:a16="http://schemas.microsoft.com/office/drawing/2014/main" id="{1BEB38C5-140B-ECA7-DC99-D0F1102B51B6}"/>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
        <p:nvSpPr>
          <p:cNvPr id="6" name="Titel 5">
            <a:extLst>
              <a:ext uri="{FF2B5EF4-FFF2-40B4-BE49-F238E27FC236}">
                <a16:creationId xmlns:a16="http://schemas.microsoft.com/office/drawing/2014/main" id="{DEB60036-047F-0112-EEFF-065AED57177E}"/>
              </a:ext>
            </a:extLst>
          </p:cNvPr>
          <p:cNvSpPr>
            <a:spLocks noGrp="1"/>
          </p:cNvSpPr>
          <p:nvPr>
            <p:ph type="title"/>
          </p:nvPr>
        </p:nvSpPr>
        <p:spPr bwMode="gray"/>
        <p:txBody>
          <a:bodyPr/>
          <a:lstStyle/>
          <a:p>
            <a:r>
              <a:rPr lang="en-US"/>
              <a:t>Click to edit Master title style</a:t>
            </a:r>
            <a:endParaRPr lang="de-DE"/>
          </a:p>
        </p:txBody>
      </p:sp>
      <p:sp>
        <p:nvSpPr>
          <p:cNvPr id="8" name="Inhaltsplatzhalter 7">
            <a:extLst>
              <a:ext uri="{FF2B5EF4-FFF2-40B4-BE49-F238E27FC236}">
                <a16:creationId xmlns:a16="http://schemas.microsoft.com/office/drawing/2014/main" id="{08373AFB-1572-641E-8D89-ADCC585BE927}"/>
              </a:ext>
            </a:extLst>
          </p:cNvPr>
          <p:cNvSpPr>
            <a:spLocks noGrp="1"/>
          </p:cNvSpPr>
          <p:nvPr>
            <p:ph sz="quarter" idx="13"/>
          </p:nvPr>
        </p:nvSpPr>
        <p:spPr bwMode="gray">
          <a:xfrm>
            <a:off x="695325" y="1125539"/>
            <a:ext cx="10801350" cy="51831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0923372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5325" y="1125538"/>
            <a:ext cx="5112000" cy="518318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2">
            <a:extLst>
              <a:ext uri="{FF2B5EF4-FFF2-40B4-BE49-F238E27FC236}">
                <a16:creationId xmlns:a16="http://schemas.microsoft.com/office/drawing/2014/main" id="{AA1B1713-46D5-F6C1-A063-CFD85B69D632}"/>
              </a:ext>
            </a:extLst>
          </p:cNvPr>
          <p:cNvSpPr>
            <a:spLocks noGrp="1"/>
          </p:cNvSpPr>
          <p:nvPr>
            <p:ph idx="14"/>
          </p:nvPr>
        </p:nvSpPr>
        <p:spPr bwMode="gray">
          <a:xfrm>
            <a:off x="6384676" y="1125537"/>
            <a:ext cx="5112000" cy="518318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umsplatzhalter 6">
            <a:extLst>
              <a:ext uri="{FF2B5EF4-FFF2-40B4-BE49-F238E27FC236}">
                <a16:creationId xmlns:a16="http://schemas.microsoft.com/office/drawing/2014/main" id="{1173AA01-B852-E797-2525-B906EED15257}"/>
              </a:ext>
            </a:extLst>
          </p:cNvPr>
          <p:cNvSpPr>
            <a:spLocks noGrp="1"/>
          </p:cNvSpPr>
          <p:nvPr>
            <p:ph type="dt" sz="half" idx="15"/>
          </p:nvPr>
        </p:nvSpPr>
        <p:spPr bwMode="gray"/>
        <p:txBody>
          <a:bodyPr/>
          <a:lstStyle/>
          <a:p>
            <a:fld id="{9E2B9F34-56FA-484F-BF35-683BE469C0E3}" type="datetime1">
              <a:rPr lang="de-DE" smtClean="0"/>
              <a:pPr/>
              <a:t>30.11.2024</a:t>
            </a:fld>
            <a:endParaRPr lang="de-DE" dirty="0"/>
          </a:p>
        </p:txBody>
      </p:sp>
      <p:sp>
        <p:nvSpPr>
          <p:cNvPr id="9" name="Fußzeilenplatzhalter 8">
            <a:extLst>
              <a:ext uri="{FF2B5EF4-FFF2-40B4-BE49-F238E27FC236}">
                <a16:creationId xmlns:a16="http://schemas.microsoft.com/office/drawing/2014/main" id="{F945C025-ECDE-D62B-F6BE-57AB8262E24C}"/>
              </a:ext>
            </a:extLst>
          </p:cNvPr>
          <p:cNvSpPr>
            <a:spLocks noGrp="1"/>
          </p:cNvSpPr>
          <p:nvPr>
            <p:ph type="ftr" sz="quarter" idx="16"/>
          </p:nvPr>
        </p:nvSpPr>
        <p:spPr bwMode="gray">
          <a:xfrm>
            <a:off x="4296676" y="6498000"/>
            <a:ext cx="7200000" cy="180000"/>
          </a:xfrm>
        </p:spPr>
        <p:txBody>
          <a:bodyPr/>
          <a:lstStyle/>
          <a:p>
            <a:r>
              <a:rPr lang="de-DE" dirty="0"/>
              <a:t>Unternehmenspräsentation</a:t>
            </a:r>
          </a:p>
        </p:txBody>
      </p:sp>
      <p:sp>
        <p:nvSpPr>
          <p:cNvPr id="10" name="Foliennummernplatzhalter 9">
            <a:extLst>
              <a:ext uri="{FF2B5EF4-FFF2-40B4-BE49-F238E27FC236}">
                <a16:creationId xmlns:a16="http://schemas.microsoft.com/office/drawing/2014/main" id="{92C593A5-A9D0-E899-5934-49191EBC0A30}"/>
              </a:ext>
            </a:extLst>
          </p:cNvPr>
          <p:cNvSpPr>
            <a:spLocks noGrp="1"/>
          </p:cNvSpPr>
          <p:nvPr>
            <p:ph type="sldNum" sz="quarter" idx="17"/>
          </p:nvPr>
        </p:nvSpPr>
        <p:spPr bwMode="gray"/>
        <p:txBody>
          <a:bodyPr/>
          <a:lstStyle/>
          <a:p>
            <a:fld id="{1A2CFED3-8F6A-4617-95E5-25D21BE72BEB}" type="slidenum">
              <a:rPr lang="de-DE" smtClean="0"/>
              <a:pPr/>
              <a:t>‹#›</a:t>
            </a:fld>
            <a:endParaRPr lang="de-DE" dirty="0"/>
          </a:p>
        </p:txBody>
      </p:sp>
      <p:sp>
        <p:nvSpPr>
          <p:cNvPr id="4" name="Titel 3">
            <a:extLst>
              <a:ext uri="{FF2B5EF4-FFF2-40B4-BE49-F238E27FC236}">
                <a16:creationId xmlns:a16="http://schemas.microsoft.com/office/drawing/2014/main" id="{8A878965-EAAE-B139-404A-BF149648F4E7}"/>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23307088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4800" y="1125537"/>
            <a:ext cx="3348000" cy="5183187"/>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2">
            <a:extLst>
              <a:ext uri="{FF2B5EF4-FFF2-40B4-BE49-F238E27FC236}">
                <a16:creationId xmlns:a16="http://schemas.microsoft.com/office/drawing/2014/main" id="{AA1B1713-46D5-F6C1-A063-CFD85B69D632}"/>
              </a:ext>
            </a:extLst>
          </p:cNvPr>
          <p:cNvSpPr>
            <a:spLocks noGrp="1"/>
          </p:cNvSpPr>
          <p:nvPr>
            <p:ph idx="14"/>
          </p:nvPr>
        </p:nvSpPr>
        <p:spPr bwMode="gray">
          <a:xfrm>
            <a:off x="4416929" y="1125537"/>
            <a:ext cx="3348000" cy="5183187"/>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2">
            <a:extLst>
              <a:ext uri="{FF2B5EF4-FFF2-40B4-BE49-F238E27FC236}">
                <a16:creationId xmlns:a16="http://schemas.microsoft.com/office/drawing/2014/main" id="{A1E2E4BA-7E19-41E1-264B-635451E62271}"/>
              </a:ext>
            </a:extLst>
          </p:cNvPr>
          <p:cNvSpPr>
            <a:spLocks noGrp="1"/>
          </p:cNvSpPr>
          <p:nvPr>
            <p:ph idx="15"/>
          </p:nvPr>
        </p:nvSpPr>
        <p:spPr bwMode="gray">
          <a:xfrm>
            <a:off x="8139059" y="1125537"/>
            <a:ext cx="3348000" cy="5183187"/>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2CD8D036-1CCD-CACD-301C-D9B224A10611}"/>
              </a:ext>
            </a:extLst>
          </p:cNvPr>
          <p:cNvSpPr>
            <a:spLocks noGrp="1"/>
          </p:cNvSpPr>
          <p:nvPr>
            <p:ph type="dt" sz="half" idx="16"/>
          </p:nvPr>
        </p:nvSpPr>
        <p:spPr bwMode="gray"/>
        <p:txBody>
          <a:bodyPr/>
          <a:lstStyle/>
          <a:p>
            <a:fld id="{9E2B9F34-56FA-484F-BF35-683BE469C0E3}" type="datetime1">
              <a:rPr lang="de-DE" smtClean="0"/>
              <a:pPr/>
              <a:t>30.11.2024</a:t>
            </a:fld>
            <a:endParaRPr lang="de-DE" dirty="0"/>
          </a:p>
        </p:txBody>
      </p:sp>
      <p:sp>
        <p:nvSpPr>
          <p:cNvPr id="6" name="Fußzeilenplatzhalter 5">
            <a:extLst>
              <a:ext uri="{FF2B5EF4-FFF2-40B4-BE49-F238E27FC236}">
                <a16:creationId xmlns:a16="http://schemas.microsoft.com/office/drawing/2014/main" id="{E6F10AD9-1F7D-D67A-A400-C3C9EB36D525}"/>
              </a:ext>
            </a:extLst>
          </p:cNvPr>
          <p:cNvSpPr>
            <a:spLocks noGrp="1"/>
          </p:cNvSpPr>
          <p:nvPr>
            <p:ph type="ftr" sz="quarter" idx="17"/>
          </p:nvPr>
        </p:nvSpPr>
        <p:spPr bwMode="gray"/>
        <p:txBody>
          <a:bodyPr/>
          <a:lstStyle/>
          <a:p>
            <a:r>
              <a:rPr lang="de-DE" dirty="0"/>
              <a:t>Unternehmenspräsentation</a:t>
            </a:r>
          </a:p>
        </p:txBody>
      </p:sp>
      <p:sp>
        <p:nvSpPr>
          <p:cNvPr id="10" name="Foliennummernplatzhalter 9">
            <a:extLst>
              <a:ext uri="{FF2B5EF4-FFF2-40B4-BE49-F238E27FC236}">
                <a16:creationId xmlns:a16="http://schemas.microsoft.com/office/drawing/2014/main" id="{C806DF81-91A7-C3A9-5F3C-1363F5CD4A2D}"/>
              </a:ext>
            </a:extLst>
          </p:cNvPr>
          <p:cNvSpPr>
            <a:spLocks noGrp="1"/>
          </p:cNvSpPr>
          <p:nvPr>
            <p:ph type="sldNum" sz="quarter" idx="18"/>
          </p:nvPr>
        </p:nvSpPr>
        <p:spPr bwMode="gray"/>
        <p:txBody>
          <a:bodyPr/>
          <a:lstStyle/>
          <a:p>
            <a:fld id="{1A2CFED3-8F6A-4617-95E5-25D21BE72BEB}" type="slidenum">
              <a:rPr lang="de-DE" smtClean="0"/>
              <a:pPr/>
              <a:t>‹#›</a:t>
            </a:fld>
            <a:endParaRPr lang="de-DE" dirty="0"/>
          </a:p>
        </p:txBody>
      </p:sp>
      <p:sp>
        <p:nvSpPr>
          <p:cNvPr id="13" name="Titel 12">
            <a:extLst>
              <a:ext uri="{FF2B5EF4-FFF2-40B4-BE49-F238E27FC236}">
                <a16:creationId xmlns:a16="http://schemas.microsoft.com/office/drawing/2014/main" id="{8D1467F6-5F14-D3FB-96EC-571B5CD9CC73}"/>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37586332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4800" y="1124743"/>
            <a:ext cx="2448000" cy="5183981"/>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2">
            <a:extLst>
              <a:ext uri="{FF2B5EF4-FFF2-40B4-BE49-F238E27FC236}">
                <a16:creationId xmlns:a16="http://schemas.microsoft.com/office/drawing/2014/main" id="{AA1B1713-46D5-F6C1-A063-CFD85B69D632}"/>
              </a:ext>
            </a:extLst>
          </p:cNvPr>
          <p:cNvSpPr>
            <a:spLocks noGrp="1"/>
          </p:cNvSpPr>
          <p:nvPr>
            <p:ph idx="14"/>
          </p:nvPr>
        </p:nvSpPr>
        <p:spPr bwMode="gray">
          <a:xfrm>
            <a:off x="3479425" y="1124743"/>
            <a:ext cx="2448000" cy="5183981"/>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2">
            <a:extLst>
              <a:ext uri="{FF2B5EF4-FFF2-40B4-BE49-F238E27FC236}">
                <a16:creationId xmlns:a16="http://schemas.microsoft.com/office/drawing/2014/main" id="{A1E2E4BA-7E19-41E1-264B-635451E62271}"/>
              </a:ext>
            </a:extLst>
          </p:cNvPr>
          <p:cNvSpPr>
            <a:spLocks noGrp="1"/>
          </p:cNvSpPr>
          <p:nvPr>
            <p:ph idx="15"/>
          </p:nvPr>
        </p:nvSpPr>
        <p:spPr bwMode="gray">
          <a:xfrm>
            <a:off x="6264050" y="1124743"/>
            <a:ext cx="2448000" cy="5183981"/>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Inhaltsplatzhalter 2">
            <a:extLst>
              <a:ext uri="{FF2B5EF4-FFF2-40B4-BE49-F238E27FC236}">
                <a16:creationId xmlns:a16="http://schemas.microsoft.com/office/drawing/2014/main" id="{B6363642-D872-D79C-689F-4BBBE9028A8E}"/>
              </a:ext>
            </a:extLst>
          </p:cNvPr>
          <p:cNvSpPr>
            <a:spLocks noGrp="1"/>
          </p:cNvSpPr>
          <p:nvPr>
            <p:ph idx="16"/>
          </p:nvPr>
        </p:nvSpPr>
        <p:spPr bwMode="gray">
          <a:xfrm>
            <a:off x="9048675" y="1124743"/>
            <a:ext cx="2448000" cy="5183981"/>
          </a:xfrm>
        </p:spPr>
        <p:txBody>
          <a:bodyPr vert="horz" lIns="0" tIns="0" rIns="0" bIns="0" rtlCol="0">
            <a:noAutofit/>
          </a:bodyPr>
          <a:lstStyle>
            <a:lvl1pPr>
              <a:spcBef>
                <a:spcPts val="0"/>
              </a:spcBef>
              <a:defRPr lang="de-DE" dirty="0"/>
            </a:lvl1pPr>
            <a:lvl2pPr>
              <a:spcBef>
                <a:spcPts val="0"/>
              </a:spcBef>
              <a:defRPr lang="de-DE" dirty="0"/>
            </a:lvl2pPr>
            <a:lvl3pPr>
              <a:spcBef>
                <a:spcPts val="0"/>
              </a:spcBef>
              <a:defRPr lang="de-DE" dirty="0"/>
            </a:lvl3pPr>
            <a:lvl4pPr>
              <a:spcBef>
                <a:spcPts val="0"/>
              </a:spcBef>
              <a:defRPr lang="de-DE" dirty="0"/>
            </a:lvl4pPr>
            <a:lvl5pPr>
              <a:spcBef>
                <a:spcPts val="0"/>
              </a:spcBef>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umsplatzhalter 4">
            <a:extLst>
              <a:ext uri="{FF2B5EF4-FFF2-40B4-BE49-F238E27FC236}">
                <a16:creationId xmlns:a16="http://schemas.microsoft.com/office/drawing/2014/main" id="{B15F789A-ED59-BD2F-8AB0-9674C22A8473}"/>
              </a:ext>
            </a:extLst>
          </p:cNvPr>
          <p:cNvSpPr>
            <a:spLocks noGrp="1"/>
          </p:cNvSpPr>
          <p:nvPr>
            <p:ph type="dt" sz="half" idx="17"/>
          </p:nvPr>
        </p:nvSpPr>
        <p:spPr bwMode="gray"/>
        <p:txBody>
          <a:bodyPr/>
          <a:lstStyle/>
          <a:p>
            <a:fld id="{9E2B9F34-56FA-484F-BF35-683BE469C0E3}" type="datetime1">
              <a:rPr lang="de-DE" smtClean="0"/>
              <a:pPr/>
              <a:t>30.11.2024</a:t>
            </a:fld>
            <a:endParaRPr lang="de-DE" dirty="0"/>
          </a:p>
        </p:txBody>
      </p:sp>
      <p:sp>
        <p:nvSpPr>
          <p:cNvPr id="6" name="Fußzeilenplatzhalter 5">
            <a:extLst>
              <a:ext uri="{FF2B5EF4-FFF2-40B4-BE49-F238E27FC236}">
                <a16:creationId xmlns:a16="http://schemas.microsoft.com/office/drawing/2014/main" id="{37A44FB0-2C7B-332B-51C3-70E1247C8DE7}"/>
              </a:ext>
            </a:extLst>
          </p:cNvPr>
          <p:cNvSpPr>
            <a:spLocks noGrp="1"/>
          </p:cNvSpPr>
          <p:nvPr>
            <p:ph type="ftr" sz="quarter" idx="18"/>
          </p:nvPr>
        </p:nvSpPr>
        <p:spPr bwMode="gray"/>
        <p:txBody>
          <a:bodyPr/>
          <a:lstStyle/>
          <a:p>
            <a:r>
              <a:rPr lang="de-DE" dirty="0"/>
              <a:t>Unternehmenspräsentation</a:t>
            </a:r>
          </a:p>
        </p:txBody>
      </p:sp>
      <p:sp>
        <p:nvSpPr>
          <p:cNvPr id="11" name="Foliennummernplatzhalter 10">
            <a:extLst>
              <a:ext uri="{FF2B5EF4-FFF2-40B4-BE49-F238E27FC236}">
                <a16:creationId xmlns:a16="http://schemas.microsoft.com/office/drawing/2014/main" id="{F4980E9F-65A1-7FF0-5D22-133EC66E6F29}"/>
              </a:ext>
            </a:extLst>
          </p:cNvPr>
          <p:cNvSpPr>
            <a:spLocks noGrp="1"/>
          </p:cNvSpPr>
          <p:nvPr>
            <p:ph type="sldNum" sz="quarter" idx="19"/>
          </p:nvPr>
        </p:nvSpPr>
        <p:spPr bwMode="gray"/>
        <p:txBody>
          <a:bodyPr/>
          <a:lstStyle/>
          <a:p>
            <a:fld id="{1A2CFED3-8F6A-4617-95E5-25D21BE72BEB}" type="slidenum">
              <a:rPr lang="de-DE" smtClean="0"/>
              <a:pPr/>
              <a:t>‹#›</a:t>
            </a:fld>
            <a:endParaRPr lang="de-DE" dirty="0"/>
          </a:p>
        </p:txBody>
      </p:sp>
      <p:sp>
        <p:nvSpPr>
          <p:cNvPr id="14" name="Titel 13">
            <a:extLst>
              <a:ext uri="{FF2B5EF4-FFF2-40B4-BE49-F238E27FC236}">
                <a16:creationId xmlns:a16="http://schemas.microsoft.com/office/drawing/2014/main" id="{B62A939A-C798-3E20-62DB-89D99AFA2421}"/>
              </a:ext>
            </a:extLst>
          </p:cNvPr>
          <p:cNvSpPr>
            <a:spLocks noGrp="1"/>
          </p:cNvSpPr>
          <p:nvPr>
            <p:ph type="title"/>
          </p:nvPr>
        </p:nvSpPr>
        <p:spPr bwMode="gray"/>
        <p:txBody>
          <a:bodyPr/>
          <a:lstStyle>
            <a:lvl1pPr>
              <a:defRPr/>
            </a:lvl1pPr>
          </a:lstStyle>
          <a:p>
            <a:r>
              <a:rPr lang="en-US"/>
              <a:t>Click to edit Master title style</a:t>
            </a:r>
            <a:endParaRPr lang="de-DE" dirty="0"/>
          </a:p>
        </p:txBody>
      </p:sp>
    </p:spTree>
    <p:extLst>
      <p:ext uri="{BB962C8B-B14F-4D97-AF65-F5344CB8AC3E}">
        <p14:creationId xmlns:p14="http://schemas.microsoft.com/office/powerpoint/2010/main" val="18334783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72F470B-4E01-24DA-72AD-25D882ED164E}"/>
              </a:ext>
            </a:extLst>
          </p:cNvPr>
          <p:cNvSpPr>
            <a:spLocks noGrp="1"/>
          </p:cNvSpPr>
          <p:nvPr>
            <p:ph type="title"/>
          </p:nvPr>
        </p:nvSpPr>
        <p:spPr bwMode="gray"/>
        <p:txBody>
          <a:bodyPr/>
          <a:lstStyle/>
          <a:p>
            <a:r>
              <a:rPr lang="en-US"/>
              <a:t>Click to edit Master title style</a:t>
            </a:r>
            <a:endParaRPr lang="de-DE"/>
          </a:p>
        </p:txBody>
      </p:sp>
      <p:sp>
        <p:nvSpPr>
          <p:cNvPr id="4" name="Datumsplatzhalter 3">
            <a:extLst>
              <a:ext uri="{FF2B5EF4-FFF2-40B4-BE49-F238E27FC236}">
                <a16:creationId xmlns:a16="http://schemas.microsoft.com/office/drawing/2014/main" id="{7ED49D21-44B6-C8DB-310A-FB2DCE4BA69B}"/>
              </a:ext>
            </a:extLst>
          </p:cNvPr>
          <p:cNvSpPr>
            <a:spLocks noGrp="1"/>
          </p:cNvSpPr>
          <p:nvPr>
            <p:ph type="dt" sz="half" idx="10"/>
          </p:nvPr>
        </p:nvSpPr>
        <p:spPr bwMode="gray"/>
        <p:txBody>
          <a:bodyPr/>
          <a:lstStyle/>
          <a:p>
            <a:fld id="{9E2B9F34-56FA-484F-BF35-683BE469C0E3}" type="datetime1">
              <a:rPr lang="de-DE" smtClean="0"/>
              <a:pPr/>
              <a:t>30.11.2024</a:t>
            </a:fld>
            <a:endParaRPr lang="de-DE" dirty="0"/>
          </a:p>
        </p:txBody>
      </p:sp>
      <p:sp>
        <p:nvSpPr>
          <p:cNvPr id="5" name="Fußzeilenplatzhalter 4">
            <a:extLst>
              <a:ext uri="{FF2B5EF4-FFF2-40B4-BE49-F238E27FC236}">
                <a16:creationId xmlns:a16="http://schemas.microsoft.com/office/drawing/2014/main" id="{8D497FF5-EA80-B7A3-DEE2-8DE3AAD8068F}"/>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B4B10E1B-2F17-FDEF-1E83-F909E3CABDCD}"/>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Tree>
    <p:extLst>
      <p:ext uri="{BB962C8B-B14F-4D97-AF65-F5344CB8AC3E}">
        <p14:creationId xmlns:p14="http://schemas.microsoft.com/office/powerpoint/2010/main" val="261359093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5305DBB-5EE3-F6D6-B37B-26F37E4A9DA8}"/>
              </a:ext>
            </a:extLst>
          </p:cNvPr>
          <p:cNvSpPr>
            <a:spLocks noGrp="1"/>
          </p:cNvSpPr>
          <p:nvPr>
            <p:ph type="dt" sz="half" idx="10"/>
          </p:nvPr>
        </p:nvSpPr>
        <p:spPr bwMode="gray"/>
        <p:txBody>
          <a:bodyPr/>
          <a:lstStyle/>
          <a:p>
            <a:fld id="{9E2B9F34-56FA-484F-BF35-683BE469C0E3}" type="datetime1">
              <a:rPr lang="de-DE" smtClean="0"/>
              <a:pPr/>
              <a:t>30.11.2024</a:t>
            </a:fld>
            <a:endParaRPr lang="de-DE" dirty="0"/>
          </a:p>
        </p:txBody>
      </p:sp>
      <p:sp>
        <p:nvSpPr>
          <p:cNvPr id="3" name="Fußzeilenplatzhalter 2">
            <a:extLst>
              <a:ext uri="{FF2B5EF4-FFF2-40B4-BE49-F238E27FC236}">
                <a16:creationId xmlns:a16="http://schemas.microsoft.com/office/drawing/2014/main" id="{5DFBAFEE-AF3A-4378-4BAF-B1B0B09AD489}"/>
              </a:ext>
            </a:extLst>
          </p:cNvPr>
          <p:cNvSpPr>
            <a:spLocks noGrp="1"/>
          </p:cNvSpPr>
          <p:nvPr>
            <p:ph type="ftr" sz="quarter" idx="11"/>
          </p:nvPr>
        </p:nvSpPr>
        <p:spPr bwMode="gray"/>
        <p:txBody>
          <a:bodyPr/>
          <a:lstStyle/>
          <a:p>
            <a:r>
              <a:rPr lang="de-DE" dirty="0"/>
              <a:t>Unternehmenspräsentation</a:t>
            </a:r>
          </a:p>
        </p:txBody>
      </p:sp>
      <p:sp>
        <p:nvSpPr>
          <p:cNvPr id="4" name="Foliennummernplatzhalter 3">
            <a:extLst>
              <a:ext uri="{FF2B5EF4-FFF2-40B4-BE49-F238E27FC236}">
                <a16:creationId xmlns:a16="http://schemas.microsoft.com/office/drawing/2014/main" id="{36AE4E2C-1ABB-D4B8-1B1E-A5D88B7B3207}"/>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Tree>
    <p:extLst>
      <p:ext uri="{BB962C8B-B14F-4D97-AF65-F5344CB8AC3E}">
        <p14:creationId xmlns:p14="http://schemas.microsoft.com/office/powerpoint/2010/main" val="15575414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Pfeil">
    <p:spTree>
      <p:nvGrpSpPr>
        <p:cNvPr id="1" name=""/>
        <p:cNvGrpSpPr/>
        <p:nvPr/>
      </p:nvGrpSpPr>
      <p:grpSpPr>
        <a:xfrm>
          <a:off x="0" y="0"/>
          <a:ext cx="0" cy="0"/>
          <a:chOff x="0" y="0"/>
          <a:chExt cx="0" cy="0"/>
        </a:xfrm>
      </p:grpSpPr>
      <p:sp>
        <p:nvSpPr>
          <p:cNvPr id="8" name="Textplatzhalter 44">
            <a:extLst>
              <a:ext uri="{FF2B5EF4-FFF2-40B4-BE49-F238E27FC236}">
                <a16:creationId xmlns:a16="http://schemas.microsoft.com/office/drawing/2014/main" id="{09E7AD6B-6F8C-55B8-4FD9-D853181B5B98}"/>
              </a:ext>
            </a:extLst>
          </p:cNvPr>
          <p:cNvSpPr>
            <a:spLocks noGrp="1"/>
          </p:cNvSpPr>
          <p:nvPr>
            <p:ph type="body" sz="quarter" idx="20"/>
          </p:nvPr>
        </p:nvSpPr>
        <p:spPr bwMode="gray">
          <a:xfrm>
            <a:off x="514800" y="1836000"/>
            <a:ext cx="11196000" cy="864406"/>
          </a:xfrm>
          <a:prstGeom prst="homePlate">
            <a:avLst>
              <a:gd name="adj" fmla="val 27729"/>
            </a:avLst>
          </a:prstGeom>
          <a:solidFill>
            <a:schemeClr val="accent1"/>
          </a:solidFill>
        </p:spPr>
        <p:txBody>
          <a:bodyPr lIns="180000" tIns="36000" rIns="72000" bIns="36000" anchor="ctr" anchorCtr="0"/>
          <a:lstStyle>
            <a:lvl2pPr>
              <a:buClr>
                <a:schemeClr val="bg1"/>
              </a:buClr>
              <a:defRPr/>
            </a:lvl2pPr>
            <a:lvl3pPr>
              <a:buClr>
                <a:schemeClr val="bg1"/>
              </a:buClr>
              <a:defRPr/>
            </a:lvl3pPr>
          </a:lstStyle>
          <a:p>
            <a:pPr lvl="0"/>
            <a:r>
              <a:rPr lang="en-US"/>
              <a:t>Click to edit Master text styles</a:t>
            </a:r>
          </a:p>
          <a:p>
            <a:pPr lvl="1"/>
            <a:r>
              <a:rPr lang="en-US"/>
              <a:t>Second level</a:t>
            </a:r>
          </a:p>
          <a:p>
            <a:pPr lvl="2"/>
            <a:r>
              <a:rPr lang="en-US"/>
              <a:t>Third level</a:t>
            </a:r>
          </a:p>
        </p:txBody>
      </p:sp>
      <p:sp>
        <p:nvSpPr>
          <p:cNvPr id="13" name="Datumsplatzhalter 12">
            <a:extLst>
              <a:ext uri="{FF2B5EF4-FFF2-40B4-BE49-F238E27FC236}">
                <a16:creationId xmlns:a16="http://schemas.microsoft.com/office/drawing/2014/main" id="{770C9D0C-CF4A-6BAC-5827-CD0871338659}"/>
              </a:ext>
            </a:extLst>
          </p:cNvPr>
          <p:cNvSpPr>
            <a:spLocks noGrp="1"/>
          </p:cNvSpPr>
          <p:nvPr>
            <p:ph type="dt" sz="half" idx="21"/>
          </p:nvPr>
        </p:nvSpPr>
        <p:spPr bwMode="gray"/>
        <p:txBody>
          <a:bodyPr/>
          <a:lstStyle/>
          <a:p>
            <a:fld id="{9E2B9F34-56FA-484F-BF35-683BE469C0E3}" type="datetime1">
              <a:rPr lang="de-DE" smtClean="0"/>
              <a:pPr/>
              <a:t>30.11.2024</a:t>
            </a:fld>
            <a:endParaRPr lang="de-DE" dirty="0"/>
          </a:p>
        </p:txBody>
      </p:sp>
      <p:sp>
        <p:nvSpPr>
          <p:cNvPr id="14" name="Fußzeilenplatzhalter 13">
            <a:extLst>
              <a:ext uri="{FF2B5EF4-FFF2-40B4-BE49-F238E27FC236}">
                <a16:creationId xmlns:a16="http://schemas.microsoft.com/office/drawing/2014/main" id="{D05FB3BB-B5F8-A767-2510-477D2EEE9A40}"/>
              </a:ext>
            </a:extLst>
          </p:cNvPr>
          <p:cNvSpPr>
            <a:spLocks noGrp="1"/>
          </p:cNvSpPr>
          <p:nvPr>
            <p:ph type="ftr" sz="quarter" idx="22"/>
          </p:nvPr>
        </p:nvSpPr>
        <p:spPr bwMode="gray"/>
        <p:txBody>
          <a:bodyPr/>
          <a:lstStyle/>
          <a:p>
            <a:r>
              <a:rPr lang="de-DE" dirty="0"/>
              <a:t>Unternehmenspräsentation</a:t>
            </a:r>
          </a:p>
        </p:txBody>
      </p:sp>
      <p:sp>
        <p:nvSpPr>
          <p:cNvPr id="15" name="Foliennummernplatzhalter 14">
            <a:extLst>
              <a:ext uri="{FF2B5EF4-FFF2-40B4-BE49-F238E27FC236}">
                <a16:creationId xmlns:a16="http://schemas.microsoft.com/office/drawing/2014/main" id="{FA306356-6683-D3EE-F51B-1E89D6F956A9}"/>
              </a:ext>
            </a:extLst>
          </p:cNvPr>
          <p:cNvSpPr>
            <a:spLocks noGrp="1"/>
          </p:cNvSpPr>
          <p:nvPr>
            <p:ph type="sldNum" sz="quarter" idx="23"/>
          </p:nvPr>
        </p:nvSpPr>
        <p:spPr bwMode="gray"/>
        <p:txBody>
          <a:bodyPr/>
          <a:lstStyle/>
          <a:p>
            <a:fld id="{1A2CFED3-8F6A-4617-95E5-25D21BE72BEB}" type="slidenum">
              <a:rPr lang="de-DE" smtClean="0"/>
              <a:pPr/>
              <a:t>‹#›</a:t>
            </a:fld>
            <a:endParaRPr lang="de-DE" dirty="0"/>
          </a:p>
        </p:txBody>
      </p:sp>
      <p:sp>
        <p:nvSpPr>
          <p:cNvPr id="16" name="Inhaltsplatzhalter 2">
            <a:extLst>
              <a:ext uri="{FF2B5EF4-FFF2-40B4-BE49-F238E27FC236}">
                <a16:creationId xmlns:a16="http://schemas.microsoft.com/office/drawing/2014/main" id="{A16D3E6E-0EC6-45AA-E099-A93D1045E23E}"/>
              </a:ext>
            </a:extLst>
          </p:cNvPr>
          <p:cNvSpPr>
            <a:spLocks noGrp="1"/>
          </p:cNvSpPr>
          <p:nvPr>
            <p:ph idx="26"/>
          </p:nvPr>
        </p:nvSpPr>
        <p:spPr bwMode="gray">
          <a:xfrm>
            <a:off x="695324" y="2898407"/>
            <a:ext cx="10801351" cy="3410317"/>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a:extLst>
              <a:ext uri="{FF2B5EF4-FFF2-40B4-BE49-F238E27FC236}">
                <a16:creationId xmlns:a16="http://schemas.microsoft.com/office/drawing/2014/main" id="{3D67BE82-C7C6-0D89-3202-CB6631DADF9C}"/>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364525802"/>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feile">
    <p:spTree>
      <p:nvGrpSpPr>
        <p:cNvPr id="1" name=""/>
        <p:cNvGrpSpPr/>
        <p:nvPr/>
      </p:nvGrpSpPr>
      <p:grpSpPr>
        <a:xfrm>
          <a:off x="0" y="0"/>
          <a:ext cx="0" cy="0"/>
          <a:chOff x="0" y="0"/>
          <a:chExt cx="0" cy="0"/>
        </a:xfrm>
      </p:grpSpPr>
      <p:sp>
        <p:nvSpPr>
          <p:cNvPr id="9" name="Textplatzhalter 44">
            <a:extLst>
              <a:ext uri="{FF2B5EF4-FFF2-40B4-BE49-F238E27FC236}">
                <a16:creationId xmlns:a16="http://schemas.microsoft.com/office/drawing/2014/main" id="{874DC3BB-3743-8D94-5FD8-F275239D9AD3}"/>
              </a:ext>
            </a:extLst>
          </p:cNvPr>
          <p:cNvSpPr>
            <a:spLocks noGrp="1"/>
          </p:cNvSpPr>
          <p:nvPr>
            <p:ph type="body" sz="quarter" idx="20"/>
          </p:nvPr>
        </p:nvSpPr>
        <p:spPr bwMode="gray">
          <a:xfrm>
            <a:off x="514799" y="1836000"/>
            <a:ext cx="558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vl3pPr>
              <a:defRPr lang="de-DE" dirty="0"/>
            </a:lvl3pPr>
          </a:lstStyle>
          <a:p>
            <a:pPr lvl="0"/>
            <a:r>
              <a:rPr lang="en-US"/>
              <a:t>Click to edit Master text styles</a:t>
            </a:r>
          </a:p>
          <a:p>
            <a:pPr lvl="1"/>
            <a:r>
              <a:rPr lang="en-US"/>
              <a:t>Second level</a:t>
            </a:r>
          </a:p>
          <a:p>
            <a:pPr lvl="2"/>
            <a:r>
              <a:rPr lang="en-US"/>
              <a:t>Third level</a:t>
            </a:r>
          </a:p>
        </p:txBody>
      </p:sp>
      <p:sp>
        <p:nvSpPr>
          <p:cNvPr id="12" name="Textplatzhalter 44">
            <a:extLst>
              <a:ext uri="{FF2B5EF4-FFF2-40B4-BE49-F238E27FC236}">
                <a16:creationId xmlns:a16="http://schemas.microsoft.com/office/drawing/2014/main" id="{6C8CB47E-C072-A7DB-5623-307BC54F5879}"/>
              </a:ext>
            </a:extLst>
          </p:cNvPr>
          <p:cNvSpPr>
            <a:spLocks noGrp="1"/>
          </p:cNvSpPr>
          <p:nvPr>
            <p:ph type="body" sz="quarter" idx="22"/>
          </p:nvPr>
        </p:nvSpPr>
        <p:spPr bwMode="gray">
          <a:xfrm>
            <a:off x="6035076" y="1836000"/>
            <a:ext cx="5688000" cy="864406"/>
          </a:xfrm>
          <a:prstGeom prst="chevron">
            <a:avLst>
              <a:gd name="adj" fmla="val 27660"/>
            </a:avLst>
          </a:prstGeom>
          <a:solidFill>
            <a:schemeClr val="tx2"/>
          </a:solidFill>
        </p:spPr>
        <p:txBody>
          <a:bodyPr lIns="108000" tIns="36000" rIns="72000" bIns="36000" anchor="ctr" anchorCtr="0"/>
          <a:lstStyle>
            <a:lvl1pPr>
              <a:defRPr lang="de-DE" sz="1600" kern="1200" spc="40" baseline="0" noProof="0" dirty="0">
                <a:solidFill>
                  <a:schemeClr val="tx1"/>
                </a:solidFill>
                <a:latin typeface="+mn-lt"/>
                <a:ea typeface="+mn-ea"/>
                <a:cs typeface="+mn-cs"/>
              </a:defRPr>
            </a:lvl1pPr>
            <a:lvl2pPr>
              <a:buClr>
                <a:schemeClr val="bg1"/>
              </a:buClr>
              <a:defRPr lang="de-DE" sz="1600" kern="1200" spc="40" baseline="0" noProof="0" dirty="0">
                <a:solidFill>
                  <a:schemeClr val="tx1"/>
                </a:solidFill>
                <a:latin typeface="+mn-lt"/>
                <a:ea typeface="+mn-ea"/>
                <a:cs typeface="+mn-cs"/>
              </a:defRPr>
            </a:lvl2pPr>
            <a:lvl3pPr>
              <a:buClr>
                <a:schemeClr val="bg1"/>
              </a:buClr>
              <a:defRPr lang="de-DE" sz="1600" kern="1200" spc="40" baseline="0" noProof="0" dirty="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7" name="Datumsplatzhalter 6">
            <a:extLst>
              <a:ext uri="{FF2B5EF4-FFF2-40B4-BE49-F238E27FC236}">
                <a16:creationId xmlns:a16="http://schemas.microsoft.com/office/drawing/2014/main" id="{5FD4A8E9-38D1-6FDE-4D72-594E8B160006}"/>
              </a:ext>
            </a:extLst>
          </p:cNvPr>
          <p:cNvSpPr>
            <a:spLocks noGrp="1"/>
          </p:cNvSpPr>
          <p:nvPr>
            <p:ph type="dt" sz="half" idx="23"/>
          </p:nvPr>
        </p:nvSpPr>
        <p:spPr bwMode="gray"/>
        <p:txBody>
          <a:bodyPr/>
          <a:lstStyle/>
          <a:p>
            <a:fld id="{9E2B9F34-56FA-484F-BF35-683BE469C0E3}" type="datetime1">
              <a:rPr lang="de-DE" smtClean="0"/>
              <a:pPr/>
              <a:t>30.11.2024</a:t>
            </a:fld>
            <a:endParaRPr lang="de-DE" dirty="0"/>
          </a:p>
        </p:txBody>
      </p:sp>
      <p:sp>
        <p:nvSpPr>
          <p:cNvPr id="11" name="Fußzeilenplatzhalter 10">
            <a:extLst>
              <a:ext uri="{FF2B5EF4-FFF2-40B4-BE49-F238E27FC236}">
                <a16:creationId xmlns:a16="http://schemas.microsoft.com/office/drawing/2014/main" id="{DC05C723-5D57-5D60-A3D6-F4728D5A4F45}"/>
              </a:ext>
            </a:extLst>
          </p:cNvPr>
          <p:cNvSpPr>
            <a:spLocks noGrp="1"/>
          </p:cNvSpPr>
          <p:nvPr>
            <p:ph type="ftr" sz="quarter" idx="24"/>
          </p:nvPr>
        </p:nvSpPr>
        <p:spPr bwMode="gray"/>
        <p:txBody>
          <a:bodyPr/>
          <a:lstStyle/>
          <a:p>
            <a:r>
              <a:rPr lang="de-DE" dirty="0"/>
              <a:t>Unternehmenspräsentation</a:t>
            </a:r>
          </a:p>
        </p:txBody>
      </p:sp>
      <p:sp>
        <p:nvSpPr>
          <p:cNvPr id="13" name="Foliennummernplatzhalter 12">
            <a:extLst>
              <a:ext uri="{FF2B5EF4-FFF2-40B4-BE49-F238E27FC236}">
                <a16:creationId xmlns:a16="http://schemas.microsoft.com/office/drawing/2014/main" id="{5B6DBC78-D663-78AF-DB33-F03E32540780}"/>
              </a:ext>
            </a:extLst>
          </p:cNvPr>
          <p:cNvSpPr>
            <a:spLocks noGrp="1"/>
          </p:cNvSpPr>
          <p:nvPr>
            <p:ph type="sldNum" sz="quarter" idx="25"/>
          </p:nvPr>
        </p:nvSpPr>
        <p:spPr bwMode="gray"/>
        <p:txBody>
          <a:bodyPr/>
          <a:lstStyle/>
          <a:p>
            <a:fld id="{1A2CFED3-8F6A-4617-95E5-25D21BE72BEB}" type="slidenum">
              <a:rPr lang="de-DE" smtClean="0"/>
              <a:pPr/>
              <a:t>‹#›</a:t>
            </a:fld>
            <a:endParaRPr lang="de-DE" dirty="0"/>
          </a:p>
        </p:txBody>
      </p:sp>
      <p:sp>
        <p:nvSpPr>
          <p:cNvPr id="3" name="Inhaltsplatzhalter 2">
            <a:extLst>
              <a:ext uri="{FF2B5EF4-FFF2-40B4-BE49-F238E27FC236}">
                <a16:creationId xmlns:a16="http://schemas.microsoft.com/office/drawing/2014/main" id="{0EB15715-6881-DE46-F5CF-F95ED4560EB6}"/>
              </a:ext>
            </a:extLst>
          </p:cNvPr>
          <p:cNvSpPr>
            <a:spLocks noGrp="1"/>
          </p:cNvSpPr>
          <p:nvPr>
            <p:ph idx="1"/>
          </p:nvPr>
        </p:nvSpPr>
        <p:spPr bwMode="gray">
          <a:xfrm>
            <a:off x="695325" y="2889684"/>
            <a:ext cx="5112000" cy="341904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2">
            <a:extLst>
              <a:ext uri="{FF2B5EF4-FFF2-40B4-BE49-F238E27FC236}">
                <a16:creationId xmlns:a16="http://schemas.microsoft.com/office/drawing/2014/main" id="{3DAE8AD4-4FB5-349A-710E-FCB7ECB81835}"/>
              </a:ext>
            </a:extLst>
          </p:cNvPr>
          <p:cNvSpPr>
            <a:spLocks noGrp="1"/>
          </p:cNvSpPr>
          <p:nvPr>
            <p:ph idx="14"/>
          </p:nvPr>
        </p:nvSpPr>
        <p:spPr bwMode="gray">
          <a:xfrm>
            <a:off x="6384676" y="2889683"/>
            <a:ext cx="5112000" cy="341904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itel 4">
            <a:extLst>
              <a:ext uri="{FF2B5EF4-FFF2-40B4-BE49-F238E27FC236}">
                <a16:creationId xmlns:a16="http://schemas.microsoft.com/office/drawing/2014/main" id="{E8F835E8-8B69-657E-2260-E0DA0625BEAC}"/>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3480004996"/>
      </p:ext>
    </p:extLst>
  </p:cSld>
  <p:clrMapOvr>
    <a:masterClrMapping/>
  </p:clrMapOvr>
  <p:extLst>
    <p:ext uri="{DCECCB84-F9BA-43D5-87BE-67443E8EF086}">
      <p15:sldGuideLst xmlns:p15="http://schemas.microsoft.com/office/powerpoint/2012/main">
        <p15:guide id="1" orient="horz" pos="1162" userDrawn="1">
          <p15:clr>
            <a:srgbClr val="FBAE40"/>
          </p15:clr>
        </p15:guide>
        <p15:guide id="2" orient="horz" pos="70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Pfeile">
    <p:spTree>
      <p:nvGrpSpPr>
        <p:cNvPr id="1" name=""/>
        <p:cNvGrpSpPr/>
        <p:nvPr/>
      </p:nvGrpSpPr>
      <p:grpSpPr>
        <a:xfrm>
          <a:off x="0" y="0"/>
          <a:ext cx="0" cy="0"/>
          <a:chOff x="0" y="0"/>
          <a:chExt cx="0" cy="0"/>
        </a:xfrm>
      </p:grpSpPr>
      <p:sp>
        <p:nvSpPr>
          <p:cNvPr id="17" name="Textplatzhalter 44">
            <a:extLst>
              <a:ext uri="{FF2B5EF4-FFF2-40B4-BE49-F238E27FC236}">
                <a16:creationId xmlns:a16="http://schemas.microsoft.com/office/drawing/2014/main" id="{6274C1AA-31C5-62EE-52C1-434AB3088C38}"/>
              </a:ext>
            </a:extLst>
          </p:cNvPr>
          <p:cNvSpPr>
            <a:spLocks noGrp="1"/>
          </p:cNvSpPr>
          <p:nvPr>
            <p:ph type="body" sz="quarter" idx="24"/>
          </p:nvPr>
        </p:nvSpPr>
        <p:spPr bwMode="gray">
          <a:xfrm>
            <a:off x="4058895" y="1836000"/>
            <a:ext cx="3780000" cy="864406"/>
          </a:xfrm>
          <a:prstGeom prst="chevron">
            <a:avLst>
              <a:gd name="adj" fmla="val 28650"/>
            </a:avLst>
          </a:prstGeom>
          <a:solidFill>
            <a:schemeClr val="accent1"/>
          </a:solidFill>
        </p:spPr>
        <p:txBody>
          <a:bodyPr lIns="108000" tIns="36000" rIns="72000" bIns="36000" anchor="ctr" anchorCtr="0"/>
          <a:lstStyle>
            <a:lvl2pPr marL="216000" indent="-216000" algn="l" defTabSz="914400" rtl="0" eaLnBrk="1" latinLnBrk="0" hangingPunct="1">
              <a:lnSpc>
                <a:spcPct val="100000"/>
              </a:lnSpc>
              <a:spcBef>
                <a:spcPts val="0"/>
              </a:spcBef>
              <a:spcAft>
                <a:spcPts val="600"/>
              </a:spcAft>
              <a:buClr>
                <a:schemeClr val="bg1"/>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bg1"/>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3" name="Textplatzhalter 44">
            <a:extLst>
              <a:ext uri="{FF2B5EF4-FFF2-40B4-BE49-F238E27FC236}">
                <a16:creationId xmlns:a16="http://schemas.microsoft.com/office/drawing/2014/main" id="{F982324C-19E4-693F-E655-E080687A9CB9}"/>
              </a:ext>
            </a:extLst>
          </p:cNvPr>
          <p:cNvSpPr>
            <a:spLocks noGrp="1"/>
          </p:cNvSpPr>
          <p:nvPr>
            <p:ph type="body" sz="quarter" idx="25"/>
          </p:nvPr>
        </p:nvSpPr>
        <p:spPr bwMode="gray">
          <a:xfrm>
            <a:off x="7782989" y="1836000"/>
            <a:ext cx="3780000" cy="864406"/>
          </a:xfrm>
          <a:prstGeom prst="chevron">
            <a:avLst>
              <a:gd name="adj" fmla="val 28650"/>
            </a:avLst>
          </a:prstGeom>
          <a:solidFill>
            <a:schemeClr val="accent1"/>
          </a:solidFill>
        </p:spPr>
        <p:txBody>
          <a:bodyPr lIns="108000" tIns="36000" rIns="72000" bIns="36000" anchor="ctr" anchorCtr="0"/>
          <a:lstStyle>
            <a:lvl2pPr>
              <a:buClr>
                <a:schemeClr val="bg1"/>
              </a:buClr>
              <a:defRPr lang="de-DE" sz="1600" kern="1200" spc="40" baseline="0" noProof="0" dirty="0">
                <a:solidFill>
                  <a:schemeClr val="tx1"/>
                </a:solidFill>
                <a:latin typeface="+mn-lt"/>
                <a:ea typeface="+mn-ea"/>
                <a:cs typeface="+mn-cs"/>
              </a:defRPr>
            </a:lvl2pPr>
            <a:lvl3pPr>
              <a:buClr>
                <a:schemeClr val="bg1"/>
              </a:buClr>
              <a:defRPr lang="de-DE" sz="1600" kern="1200" spc="40" baseline="0" noProof="0" dirty="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3F97269C-BD76-424B-94AC-1058CDB4BE08}"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3" name="Inhaltsplatzhalter 2">
            <a:extLst>
              <a:ext uri="{FF2B5EF4-FFF2-40B4-BE49-F238E27FC236}">
                <a16:creationId xmlns:a16="http://schemas.microsoft.com/office/drawing/2014/main" id="{3C98BA70-4C05-069F-4BB1-34B7C00EC763}"/>
              </a:ext>
            </a:extLst>
          </p:cNvPr>
          <p:cNvSpPr>
            <a:spLocks noGrp="1"/>
          </p:cNvSpPr>
          <p:nvPr>
            <p:ph idx="1"/>
          </p:nvPr>
        </p:nvSpPr>
        <p:spPr bwMode="gray">
          <a:xfrm>
            <a:off x="694800" y="2889682"/>
            <a:ext cx="33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2">
            <a:extLst>
              <a:ext uri="{FF2B5EF4-FFF2-40B4-BE49-F238E27FC236}">
                <a16:creationId xmlns:a16="http://schemas.microsoft.com/office/drawing/2014/main" id="{EB7BF805-7D0C-6732-A7F7-E470809978E9}"/>
              </a:ext>
            </a:extLst>
          </p:cNvPr>
          <p:cNvSpPr>
            <a:spLocks noGrp="1"/>
          </p:cNvSpPr>
          <p:nvPr>
            <p:ph idx="14"/>
          </p:nvPr>
        </p:nvSpPr>
        <p:spPr bwMode="gray">
          <a:xfrm>
            <a:off x="4416929" y="2889682"/>
            <a:ext cx="33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2">
            <a:extLst>
              <a:ext uri="{FF2B5EF4-FFF2-40B4-BE49-F238E27FC236}">
                <a16:creationId xmlns:a16="http://schemas.microsoft.com/office/drawing/2014/main" id="{F7AC5636-8052-CAA5-1FD3-0F610A906CA1}"/>
              </a:ext>
            </a:extLst>
          </p:cNvPr>
          <p:cNvSpPr>
            <a:spLocks noGrp="1"/>
          </p:cNvSpPr>
          <p:nvPr>
            <p:ph idx="15"/>
          </p:nvPr>
        </p:nvSpPr>
        <p:spPr bwMode="gray">
          <a:xfrm>
            <a:off x="8139059" y="2889682"/>
            <a:ext cx="33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Titel 12">
            <a:extLst>
              <a:ext uri="{FF2B5EF4-FFF2-40B4-BE49-F238E27FC236}">
                <a16:creationId xmlns:a16="http://schemas.microsoft.com/office/drawing/2014/main" id="{16C9C1F5-13FA-A276-2418-BF0227E36E73}"/>
              </a:ext>
            </a:extLst>
          </p:cNvPr>
          <p:cNvSpPr>
            <a:spLocks noGrp="1"/>
          </p:cNvSpPr>
          <p:nvPr>
            <p:ph type="title"/>
          </p:nvPr>
        </p:nvSpPr>
        <p:spPr bwMode="gray"/>
        <p:txBody>
          <a:bodyPr/>
          <a:lstStyle/>
          <a:p>
            <a:r>
              <a:rPr lang="en-US"/>
              <a:t>Click to edit Master title style</a:t>
            </a:r>
            <a:endParaRPr lang="de-DE"/>
          </a:p>
        </p:txBody>
      </p:sp>
      <p:sp>
        <p:nvSpPr>
          <p:cNvPr id="16" name="Textplatzhalter 44">
            <a:extLst>
              <a:ext uri="{FF2B5EF4-FFF2-40B4-BE49-F238E27FC236}">
                <a16:creationId xmlns:a16="http://schemas.microsoft.com/office/drawing/2014/main" id="{58D1C784-2143-BDBB-AB76-D0C520171B91}"/>
              </a:ext>
            </a:extLst>
          </p:cNvPr>
          <p:cNvSpPr>
            <a:spLocks noGrp="1"/>
          </p:cNvSpPr>
          <p:nvPr>
            <p:ph type="body" sz="quarter" idx="23"/>
          </p:nvPr>
        </p:nvSpPr>
        <p:spPr bwMode="gray">
          <a:xfrm>
            <a:off x="514800" y="1836000"/>
            <a:ext cx="3600000" cy="864406"/>
          </a:xfrm>
          <a:prstGeom prst="homePlate">
            <a:avLst>
              <a:gd name="adj" fmla="val 27582"/>
            </a:avLst>
          </a:prstGeom>
          <a:solidFill>
            <a:schemeClr val="accent1"/>
          </a:solidFill>
        </p:spPr>
        <p:txBody>
          <a:bodyPr lIns="180000" tIns="36000" rIns="72000" bIns="36000" anchor="ctr" anchorCtr="0"/>
          <a:lstStyle>
            <a:lvl2pPr>
              <a:buClr>
                <a:schemeClr val="bg1"/>
              </a:buClr>
              <a:defRPr/>
            </a:lvl2pPr>
            <a:lvl3pPr>
              <a:buClr>
                <a:schemeClr val="bg1"/>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6463820"/>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Pfeile">
    <p:spTree>
      <p:nvGrpSpPr>
        <p:cNvPr id="1" name=""/>
        <p:cNvGrpSpPr/>
        <p:nvPr/>
      </p:nvGrpSpPr>
      <p:grpSpPr>
        <a:xfrm>
          <a:off x="0" y="0"/>
          <a:ext cx="0" cy="0"/>
          <a:chOff x="0" y="0"/>
          <a:chExt cx="0" cy="0"/>
        </a:xfrm>
      </p:grpSpPr>
      <p:sp>
        <p:nvSpPr>
          <p:cNvPr id="22" name="Textplatzhalter 44">
            <a:extLst>
              <a:ext uri="{FF2B5EF4-FFF2-40B4-BE49-F238E27FC236}">
                <a16:creationId xmlns:a16="http://schemas.microsoft.com/office/drawing/2014/main" id="{F4316CE8-01E2-5EC7-2099-6A0B9B087AC6}"/>
              </a:ext>
            </a:extLst>
          </p:cNvPr>
          <p:cNvSpPr>
            <a:spLocks noGrp="1"/>
          </p:cNvSpPr>
          <p:nvPr>
            <p:ph type="body" sz="quarter" idx="25"/>
          </p:nvPr>
        </p:nvSpPr>
        <p:spPr bwMode="gray">
          <a:xfrm>
            <a:off x="3127216" y="1836000"/>
            <a:ext cx="2880000" cy="864406"/>
          </a:xfrm>
          <a:prstGeom prst="chevron">
            <a:avLst>
              <a:gd name="adj" fmla="val 28650"/>
            </a:avLst>
          </a:prstGeom>
          <a:solidFill>
            <a:schemeClr val="accent1"/>
          </a:solidFill>
        </p:spPr>
        <p:txBody>
          <a:bodyPr lIns="108000" tIns="36000" rIns="72000" bIns="36000" anchor="ctr" anchorCtr="0"/>
          <a:lstStyle>
            <a:lvl2pPr>
              <a:buClr>
                <a:schemeClr val="bg1"/>
              </a:buClr>
              <a:defRPr lang="de-DE" sz="1600" kern="1200" spc="40" baseline="0" noProof="0" dirty="0">
                <a:solidFill>
                  <a:schemeClr val="tx1"/>
                </a:solidFill>
                <a:latin typeface="+mn-lt"/>
                <a:ea typeface="+mn-ea"/>
                <a:cs typeface="+mn-cs"/>
              </a:defRPr>
            </a:lvl2pPr>
          </a:lstStyle>
          <a:p>
            <a:pPr lvl="0"/>
            <a:r>
              <a:rPr lang="en-US"/>
              <a:t>Click to edit Master text styles</a:t>
            </a:r>
          </a:p>
          <a:p>
            <a:pPr lvl="1"/>
            <a:r>
              <a:rPr lang="en-US"/>
              <a:t>Second level</a:t>
            </a:r>
          </a:p>
        </p:txBody>
      </p:sp>
      <p:sp>
        <p:nvSpPr>
          <p:cNvPr id="23" name="Textplatzhalter 44">
            <a:extLst>
              <a:ext uri="{FF2B5EF4-FFF2-40B4-BE49-F238E27FC236}">
                <a16:creationId xmlns:a16="http://schemas.microsoft.com/office/drawing/2014/main" id="{E05D7D5D-0425-41AD-3FC0-E8EF3834DADD}"/>
              </a:ext>
            </a:extLst>
          </p:cNvPr>
          <p:cNvSpPr>
            <a:spLocks noGrp="1"/>
          </p:cNvSpPr>
          <p:nvPr>
            <p:ph type="body" sz="quarter" idx="26"/>
          </p:nvPr>
        </p:nvSpPr>
        <p:spPr bwMode="gray">
          <a:xfrm>
            <a:off x="8712049" y="1836000"/>
            <a:ext cx="2880000" cy="864406"/>
          </a:xfrm>
          <a:prstGeom prst="chevron">
            <a:avLst>
              <a:gd name="adj" fmla="val 28650"/>
            </a:avLst>
          </a:prstGeom>
          <a:solidFill>
            <a:schemeClr val="accent1"/>
          </a:solidFill>
        </p:spPr>
        <p:txBody>
          <a:bodyPr vert="horz" lIns="108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24" name="Textplatzhalter 44">
            <a:extLst>
              <a:ext uri="{FF2B5EF4-FFF2-40B4-BE49-F238E27FC236}">
                <a16:creationId xmlns:a16="http://schemas.microsoft.com/office/drawing/2014/main" id="{E277CE03-DF66-AF26-64D4-A7A4EAA5C137}"/>
              </a:ext>
            </a:extLst>
          </p:cNvPr>
          <p:cNvSpPr>
            <a:spLocks noGrp="1"/>
          </p:cNvSpPr>
          <p:nvPr>
            <p:ph type="body" sz="quarter" idx="23"/>
          </p:nvPr>
        </p:nvSpPr>
        <p:spPr bwMode="gray">
          <a:xfrm>
            <a:off x="514800" y="1836000"/>
            <a:ext cx="2700000" cy="864406"/>
          </a:xfrm>
          <a:prstGeom prst="homePlate">
            <a:avLst>
              <a:gd name="adj" fmla="val 27582"/>
            </a:avLst>
          </a:prstGeom>
          <a:solidFill>
            <a:schemeClr val="accent1"/>
          </a:solidFill>
        </p:spPr>
        <p:txBody>
          <a:bodyPr lIns="180000" tIns="36000" rIns="72000" bIns="36000" anchor="ctr" anchorCtr="0"/>
          <a:lstStyle>
            <a:lvl2pPr>
              <a:buClr>
                <a:schemeClr val="bg1"/>
              </a:buClr>
              <a:defRPr/>
            </a:lvl2pPr>
          </a:lstStyle>
          <a:p>
            <a:pPr lvl="0"/>
            <a:r>
              <a:rPr lang="en-US"/>
              <a:t>Click to edit Master text styles</a:t>
            </a:r>
          </a:p>
          <a:p>
            <a:pPr lvl="1"/>
            <a:r>
              <a:rPr lang="en-US"/>
              <a:t>Second level</a:t>
            </a:r>
          </a:p>
        </p:txBody>
      </p:sp>
      <p:sp>
        <p:nvSpPr>
          <p:cNvPr id="25" name="Textplatzhalter 44">
            <a:extLst>
              <a:ext uri="{FF2B5EF4-FFF2-40B4-BE49-F238E27FC236}">
                <a16:creationId xmlns:a16="http://schemas.microsoft.com/office/drawing/2014/main" id="{4191DEC3-7C50-3A43-42D0-235BCAF8B4A9}"/>
              </a:ext>
            </a:extLst>
          </p:cNvPr>
          <p:cNvSpPr>
            <a:spLocks noGrp="1"/>
          </p:cNvSpPr>
          <p:nvPr>
            <p:ph type="body" sz="quarter" idx="27"/>
          </p:nvPr>
        </p:nvSpPr>
        <p:spPr bwMode="gray">
          <a:xfrm>
            <a:off x="5919632" y="1836000"/>
            <a:ext cx="2880000" cy="864406"/>
          </a:xfrm>
          <a:prstGeom prst="chevron">
            <a:avLst>
              <a:gd name="adj" fmla="val 28650"/>
            </a:avLst>
          </a:prstGeom>
          <a:solidFill>
            <a:schemeClr val="accent1"/>
          </a:solidFill>
        </p:spPr>
        <p:txBody>
          <a:bodyPr vert="horz" lIns="108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DF9A47CE-C0B1-480A-8C8F-647A9D5F95A0}"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3" name="Inhaltsplatzhalter 2">
            <a:extLst>
              <a:ext uri="{FF2B5EF4-FFF2-40B4-BE49-F238E27FC236}">
                <a16:creationId xmlns:a16="http://schemas.microsoft.com/office/drawing/2014/main" id="{2E41C867-F383-D07D-12E9-50A9EC831B58}"/>
              </a:ext>
            </a:extLst>
          </p:cNvPr>
          <p:cNvSpPr>
            <a:spLocks noGrp="1"/>
          </p:cNvSpPr>
          <p:nvPr>
            <p:ph idx="1"/>
          </p:nvPr>
        </p:nvSpPr>
        <p:spPr bwMode="gray">
          <a:xfrm>
            <a:off x="694800" y="2889682"/>
            <a:ext cx="24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2">
            <a:extLst>
              <a:ext uri="{FF2B5EF4-FFF2-40B4-BE49-F238E27FC236}">
                <a16:creationId xmlns:a16="http://schemas.microsoft.com/office/drawing/2014/main" id="{5A78AB00-F348-1342-03AD-6B4B74B9252D}"/>
              </a:ext>
            </a:extLst>
          </p:cNvPr>
          <p:cNvSpPr>
            <a:spLocks noGrp="1"/>
          </p:cNvSpPr>
          <p:nvPr>
            <p:ph idx="14"/>
          </p:nvPr>
        </p:nvSpPr>
        <p:spPr bwMode="gray">
          <a:xfrm>
            <a:off x="3479425" y="2889682"/>
            <a:ext cx="24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Inhaltsplatzhalter 2">
            <a:extLst>
              <a:ext uri="{FF2B5EF4-FFF2-40B4-BE49-F238E27FC236}">
                <a16:creationId xmlns:a16="http://schemas.microsoft.com/office/drawing/2014/main" id="{A6546200-3B31-4A94-B6D0-88D2388E9815}"/>
              </a:ext>
            </a:extLst>
          </p:cNvPr>
          <p:cNvSpPr>
            <a:spLocks noGrp="1"/>
          </p:cNvSpPr>
          <p:nvPr>
            <p:ph idx="15"/>
          </p:nvPr>
        </p:nvSpPr>
        <p:spPr bwMode="gray">
          <a:xfrm>
            <a:off x="6264050" y="2889682"/>
            <a:ext cx="24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2">
            <a:extLst>
              <a:ext uri="{FF2B5EF4-FFF2-40B4-BE49-F238E27FC236}">
                <a16:creationId xmlns:a16="http://schemas.microsoft.com/office/drawing/2014/main" id="{2CB22B8A-C690-8DE1-04F4-3E1892BD27FE}"/>
              </a:ext>
            </a:extLst>
          </p:cNvPr>
          <p:cNvSpPr>
            <a:spLocks noGrp="1"/>
          </p:cNvSpPr>
          <p:nvPr>
            <p:ph idx="24"/>
          </p:nvPr>
        </p:nvSpPr>
        <p:spPr bwMode="gray">
          <a:xfrm>
            <a:off x="9048675" y="2889682"/>
            <a:ext cx="2448000" cy="34190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Titel 9">
            <a:extLst>
              <a:ext uri="{FF2B5EF4-FFF2-40B4-BE49-F238E27FC236}">
                <a16:creationId xmlns:a16="http://schemas.microsoft.com/office/drawing/2014/main" id="{15700583-1B24-CFF7-B0E5-75A5517623A6}"/>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947785209"/>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4" name="Untertitel 2">
            <a:extLst>
              <a:ext uri="{FF2B5EF4-FFF2-40B4-BE49-F238E27FC236}">
                <a16:creationId xmlns:a16="http://schemas.microsoft.com/office/drawing/2014/main" id="{BE987C8D-600E-9043-3AFA-296CBCCE53E0}"/>
              </a:ext>
            </a:extLst>
          </p:cNvPr>
          <p:cNvSpPr>
            <a:spLocks noGrp="1"/>
          </p:cNvSpPr>
          <p:nvPr>
            <p:ph type="subTitle" idx="1" hasCustomPrompt="1"/>
          </p:nvPr>
        </p:nvSpPr>
        <p:spPr bwMode="black">
          <a:xfrm>
            <a:off x="695325" y="5240858"/>
            <a:ext cx="6984851" cy="360000"/>
          </a:xfrm>
        </p:spPr>
        <p:txBody>
          <a:bodyPr/>
          <a:lstStyle>
            <a:lvl1pPr marL="0" indent="0" algn="l">
              <a:spcBef>
                <a:spcPts val="0"/>
              </a:spcBef>
              <a:spcAft>
                <a:spcPts val="0"/>
              </a:spcAft>
              <a:buNone/>
              <a:defRPr sz="2400" cap="none" baseline="0">
                <a:solidFill>
                  <a:srgbClr val="2DFA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Software Engineering  |  Digitale Transformation</a:t>
            </a:r>
          </a:p>
        </p:txBody>
      </p:sp>
      <p:sp>
        <p:nvSpPr>
          <p:cNvPr id="5" name="Textplatzhalter 2">
            <a:extLst>
              <a:ext uri="{FF2B5EF4-FFF2-40B4-BE49-F238E27FC236}">
                <a16:creationId xmlns:a16="http://schemas.microsoft.com/office/drawing/2014/main" id="{DD1E4018-114F-0DDB-12BD-4B79C44BA158}"/>
              </a:ext>
            </a:extLst>
          </p:cNvPr>
          <p:cNvSpPr>
            <a:spLocks noGrp="1"/>
          </p:cNvSpPr>
          <p:nvPr>
            <p:ph type="body" idx="13"/>
          </p:nvPr>
        </p:nvSpPr>
        <p:spPr bwMode="black">
          <a:xfrm>
            <a:off x="720000" y="5759999"/>
            <a:ext cx="6455324" cy="205983"/>
          </a:xfrm>
        </p:spPr>
        <p:txBody>
          <a:bodyPr anchor="t"/>
          <a:lstStyle>
            <a:lvl1pPr marL="0" indent="0">
              <a:spcBef>
                <a:spcPts val="0"/>
              </a:spcBef>
              <a:spcAft>
                <a:spcPts val="0"/>
              </a:spcAft>
              <a:buNone/>
              <a:defRPr sz="1400" b="0" cap="none" spc="12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10613601" y="548680"/>
            <a:ext cx="912923" cy="210675"/>
          </a:xfrm>
          <a:prstGeom prst="rect">
            <a:avLst/>
          </a:prstGeom>
        </p:spPr>
      </p:pic>
      <p:pic>
        <p:nvPicPr>
          <p:cNvPr id="22" name="Grafik 21">
            <a:extLst>
              <a:ext uri="{FF2B5EF4-FFF2-40B4-BE49-F238E27FC236}">
                <a16:creationId xmlns:a16="http://schemas.microsoft.com/office/drawing/2014/main" id="{FC68CA13-9A37-DDBE-857F-56533BE1EE90}"/>
              </a:ext>
            </a:extLst>
          </p:cNvPr>
          <p:cNvPicPr>
            <a:picLocks noChangeAspect="1"/>
          </p:cNvPicPr>
          <p:nvPr userDrawn="1"/>
        </p:nvPicPr>
        <p:blipFill>
          <a:blip r:embed="rId3"/>
          <a:stretch>
            <a:fillRect/>
          </a:stretch>
        </p:blipFill>
        <p:spPr>
          <a:xfrm>
            <a:off x="7855892" y="2241550"/>
            <a:ext cx="3568700" cy="2374900"/>
          </a:xfrm>
          <a:prstGeom prst="rect">
            <a:avLst/>
          </a:prstGeom>
        </p:spPr>
      </p:pic>
      <p:pic>
        <p:nvPicPr>
          <p:cNvPr id="23" name="Grafik 22">
            <a:extLst>
              <a:ext uri="{FF2B5EF4-FFF2-40B4-BE49-F238E27FC236}">
                <a16:creationId xmlns:a16="http://schemas.microsoft.com/office/drawing/2014/main" id="{59076396-E385-083F-6CB5-3CC7EBA69187}"/>
              </a:ext>
            </a:extLst>
          </p:cNvPr>
          <p:cNvPicPr>
            <a:picLocks noChangeAspect="1"/>
          </p:cNvPicPr>
          <p:nvPr userDrawn="1"/>
        </p:nvPicPr>
        <p:blipFill>
          <a:blip r:embed="rId3"/>
          <a:stretch>
            <a:fillRect/>
          </a:stretch>
        </p:blipFill>
        <p:spPr>
          <a:xfrm>
            <a:off x="7063804" y="1468866"/>
            <a:ext cx="3568700" cy="2374900"/>
          </a:xfrm>
          <a:prstGeom prst="rect">
            <a:avLst/>
          </a:prstGeom>
        </p:spPr>
      </p:pic>
    </p:spTree>
    <p:extLst>
      <p:ext uri="{BB962C8B-B14F-4D97-AF65-F5344CB8AC3E}">
        <p14:creationId xmlns:p14="http://schemas.microsoft.com/office/powerpoint/2010/main" val="646455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Pfeil vertikal">
    <p:spTree>
      <p:nvGrpSpPr>
        <p:cNvPr id="1" name=""/>
        <p:cNvGrpSpPr/>
        <p:nvPr/>
      </p:nvGrpSpPr>
      <p:grpSpPr>
        <a:xfrm>
          <a:off x="0" y="0"/>
          <a:ext cx="0" cy="0"/>
          <a:chOff x="0" y="0"/>
          <a:chExt cx="0" cy="0"/>
        </a:xfrm>
      </p:grpSpPr>
      <p:sp>
        <p:nvSpPr>
          <p:cNvPr id="7" name="Textplatzhalter 44">
            <a:extLst>
              <a:ext uri="{FF2B5EF4-FFF2-40B4-BE49-F238E27FC236}">
                <a16:creationId xmlns:a16="http://schemas.microsoft.com/office/drawing/2014/main" id="{F93781B8-7167-04B1-9031-73FDA174BF99}"/>
              </a:ext>
            </a:extLst>
          </p:cNvPr>
          <p:cNvSpPr>
            <a:spLocks noGrp="1"/>
          </p:cNvSpPr>
          <p:nvPr>
            <p:ph type="body" sz="quarter" idx="23"/>
          </p:nvPr>
        </p:nvSpPr>
        <p:spPr bwMode="gray">
          <a:xfrm>
            <a:off x="514800" y="1836000"/>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4" name="Inhaltsplatzhalter 13">
            <a:extLst>
              <a:ext uri="{FF2B5EF4-FFF2-40B4-BE49-F238E27FC236}">
                <a16:creationId xmlns:a16="http://schemas.microsoft.com/office/drawing/2014/main" id="{28BBD130-395B-D7DB-AB20-DB398C4B3FAF}"/>
              </a:ext>
            </a:extLst>
          </p:cNvPr>
          <p:cNvSpPr>
            <a:spLocks noGrp="1"/>
          </p:cNvSpPr>
          <p:nvPr>
            <p:ph sz="quarter" idx="14"/>
          </p:nvPr>
        </p:nvSpPr>
        <p:spPr bwMode="gray">
          <a:xfrm>
            <a:off x="3575050" y="1844673"/>
            <a:ext cx="7920000" cy="446405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D4C3173F-CCF7-499F-B8D9-92187728B225}"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3" name="Titel 2">
            <a:extLst>
              <a:ext uri="{FF2B5EF4-FFF2-40B4-BE49-F238E27FC236}">
                <a16:creationId xmlns:a16="http://schemas.microsoft.com/office/drawing/2014/main" id="{15430AC5-E6DD-4296-41EE-279C99A411A7}"/>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1717030961"/>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Pfeile vertikal">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28BBD130-395B-D7DB-AB20-DB398C4B3FAF}"/>
              </a:ext>
            </a:extLst>
          </p:cNvPr>
          <p:cNvSpPr>
            <a:spLocks noGrp="1"/>
          </p:cNvSpPr>
          <p:nvPr>
            <p:ph sz="quarter" idx="14"/>
          </p:nvPr>
        </p:nvSpPr>
        <p:spPr bwMode="gray">
          <a:xfrm>
            <a:off x="3575050" y="1844673"/>
            <a:ext cx="7920000" cy="2159804"/>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21" name="Inhaltsplatzhalter 13">
            <a:extLst>
              <a:ext uri="{FF2B5EF4-FFF2-40B4-BE49-F238E27FC236}">
                <a16:creationId xmlns:a16="http://schemas.microsoft.com/office/drawing/2014/main" id="{B7E37DE7-AD16-C84B-C27C-05E00F14208B}"/>
              </a:ext>
            </a:extLst>
          </p:cNvPr>
          <p:cNvSpPr>
            <a:spLocks noGrp="1"/>
          </p:cNvSpPr>
          <p:nvPr>
            <p:ph sz="quarter" idx="15"/>
          </p:nvPr>
        </p:nvSpPr>
        <p:spPr bwMode="gray">
          <a:xfrm>
            <a:off x="3576676" y="4147333"/>
            <a:ext cx="7920000" cy="2159804"/>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5D125F4E-C9F3-44B4-BB12-B5B433E9BD89}"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7" name="Titel 6">
            <a:extLst>
              <a:ext uri="{FF2B5EF4-FFF2-40B4-BE49-F238E27FC236}">
                <a16:creationId xmlns:a16="http://schemas.microsoft.com/office/drawing/2014/main" id="{80BA44BC-E7D3-77DF-8F21-0818953BDE7F}"/>
              </a:ext>
            </a:extLst>
          </p:cNvPr>
          <p:cNvSpPr>
            <a:spLocks noGrp="1"/>
          </p:cNvSpPr>
          <p:nvPr>
            <p:ph type="title"/>
          </p:nvPr>
        </p:nvSpPr>
        <p:spPr bwMode="gray"/>
        <p:txBody>
          <a:bodyPr/>
          <a:lstStyle/>
          <a:p>
            <a:r>
              <a:rPr lang="en-US"/>
              <a:t>Click to edit Master title style</a:t>
            </a:r>
            <a:endParaRPr lang="de-DE"/>
          </a:p>
        </p:txBody>
      </p:sp>
      <p:sp>
        <p:nvSpPr>
          <p:cNvPr id="8" name="Textplatzhalter 44">
            <a:extLst>
              <a:ext uri="{FF2B5EF4-FFF2-40B4-BE49-F238E27FC236}">
                <a16:creationId xmlns:a16="http://schemas.microsoft.com/office/drawing/2014/main" id="{49204EFD-F36C-13C7-60FB-02B6A64AEB33}"/>
              </a:ext>
            </a:extLst>
          </p:cNvPr>
          <p:cNvSpPr>
            <a:spLocks noGrp="1"/>
          </p:cNvSpPr>
          <p:nvPr>
            <p:ph type="body" sz="quarter" idx="23"/>
          </p:nvPr>
        </p:nvSpPr>
        <p:spPr bwMode="gray">
          <a:xfrm>
            <a:off x="514800" y="1836000"/>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9" name="Textplatzhalter 44">
            <a:extLst>
              <a:ext uri="{FF2B5EF4-FFF2-40B4-BE49-F238E27FC236}">
                <a16:creationId xmlns:a16="http://schemas.microsoft.com/office/drawing/2014/main" id="{7292E431-B27F-F965-C53E-59247CD85F1F}"/>
              </a:ext>
            </a:extLst>
          </p:cNvPr>
          <p:cNvSpPr>
            <a:spLocks noGrp="1"/>
          </p:cNvSpPr>
          <p:nvPr>
            <p:ph type="body" sz="quarter" idx="24"/>
          </p:nvPr>
        </p:nvSpPr>
        <p:spPr bwMode="gray">
          <a:xfrm>
            <a:off x="514800" y="4147333"/>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32819201"/>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feile vertikal">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28BBD130-395B-D7DB-AB20-DB398C4B3FAF}"/>
              </a:ext>
            </a:extLst>
          </p:cNvPr>
          <p:cNvSpPr>
            <a:spLocks noGrp="1"/>
          </p:cNvSpPr>
          <p:nvPr>
            <p:ph sz="quarter" idx="14"/>
          </p:nvPr>
        </p:nvSpPr>
        <p:spPr bwMode="gray">
          <a:xfrm>
            <a:off x="3576676" y="1844674"/>
            <a:ext cx="7920000" cy="1332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21" name="Inhaltsplatzhalter 13">
            <a:extLst>
              <a:ext uri="{FF2B5EF4-FFF2-40B4-BE49-F238E27FC236}">
                <a16:creationId xmlns:a16="http://schemas.microsoft.com/office/drawing/2014/main" id="{B7E37DE7-AD16-C84B-C27C-05E00F14208B}"/>
              </a:ext>
            </a:extLst>
          </p:cNvPr>
          <p:cNvSpPr>
            <a:spLocks noGrp="1"/>
          </p:cNvSpPr>
          <p:nvPr>
            <p:ph sz="quarter" idx="15"/>
          </p:nvPr>
        </p:nvSpPr>
        <p:spPr bwMode="gray">
          <a:xfrm>
            <a:off x="3576676" y="3395267"/>
            <a:ext cx="7920000" cy="1332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22" name="Inhaltsplatzhalter 13">
            <a:extLst>
              <a:ext uri="{FF2B5EF4-FFF2-40B4-BE49-F238E27FC236}">
                <a16:creationId xmlns:a16="http://schemas.microsoft.com/office/drawing/2014/main" id="{B9C3A96F-90EF-2859-4ABF-5F690BCC0134}"/>
              </a:ext>
            </a:extLst>
          </p:cNvPr>
          <p:cNvSpPr>
            <a:spLocks noGrp="1"/>
          </p:cNvSpPr>
          <p:nvPr>
            <p:ph sz="quarter" idx="16"/>
          </p:nvPr>
        </p:nvSpPr>
        <p:spPr bwMode="gray">
          <a:xfrm>
            <a:off x="3576676" y="4945860"/>
            <a:ext cx="7920000" cy="1332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a:p>
            <a:pPr lvl="3">
              <a:lnSpc>
                <a:spcPts val="1600"/>
              </a:lnSpc>
            </a:pPr>
            <a:r>
              <a:rPr lang="en-US"/>
              <a:t>Fourth level</a:t>
            </a:r>
          </a:p>
          <a:p>
            <a:pPr lvl="4">
              <a:lnSpc>
                <a:spcPts val="1600"/>
              </a:lnSpc>
            </a:pPr>
            <a:r>
              <a:rPr lang="en-US"/>
              <a:t>Fifth level</a:t>
            </a:r>
            <a:endParaRPr lang="de-DE" dirty="0"/>
          </a:p>
        </p:txBody>
      </p:sp>
      <p:sp>
        <p:nvSpPr>
          <p:cNvPr id="4" name="Datumsplatzhalter 3">
            <a:extLst>
              <a:ext uri="{FF2B5EF4-FFF2-40B4-BE49-F238E27FC236}">
                <a16:creationId xmlns:a16="http://schemas.microsoft.com/office/drawing/2014/main" id="{6D8E2082-DF0C-1344-50C5-2DF568A5ABDF}"/>
              </a:ext>
            </a:extLst>
          </p:cNvPr>
          <p:cNvSpPr>
            <a:spLocks noGrp="1"/>
          </p:cNvSpPr>
          <p:nvPr>
            <p:ph type="dt" sz="half" idx="22"/>
          </p:nvPr>
        </p:nvSpPr>
        <p:spPr bwMode="gray"/>
        <p:txBody>
          <a:bodyPr/>
          <a:lstStyle/>
          <a:p>
            <a:fld id="{9E2B9F34-56FA-484F-BF35-683BE469C0E3}" type="datetime1">
              <a:rPr lang="de-DE" smtClean="0"/>
              <a:pPr/>
              <a:t>30.11.2024</a:t>
            </a:fld>
            <a:endParaRPr lang="de-DE" dirty="0"/>
          </a:p>
        </p:txBody>
      </p:sp>
      <p:sp>
        <p:nvSpPr>
          <p:cNvPr id="5" name="Fußzeilenplatzhalter 4">
            <a:extLst>
              <a:ext uri="{FF2B5EF4-FFF2-40B4-BE49-F238E27FC236}">
                <a16:creationId xmlns:a16="http://schemas.microsoft.com/office/drawing/2014/main" id="{4E3089E5-EB52-B772-878F-5A82AADCD70C}"/>
              </a:ext>
            </a:extLst>
          </p:cNvPr>
          <p:cNvSpPr>
            <a:spLocks noGrp="1"/>
          </p:cNvSpPr>
          <p:nvPr>
            <p:ph type="ftr" sz="quarter" idx="23"/>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56AB8358-1825-ED6E-15D4-1E8CB386A099}"/>
              </a:ext>
            </a:extLst>
          </p:cNvPr>
          <p:cNvSpPr>
            <a:spLocks noGrp="1"/>
          </p:cNvSpPr>
          <p:nvPr>
            <p:ph type="sldNum" sz="quarter" idx="24"/>
          </p:nvPr>
        </p:nvSpPr>
        <p:spPr bwMode="gray"/>
        <p:txBody>
          <a:bodyPr/>
          <a:lstStyle/>
          <a:p>
            <a:fld id="{1A2CFED3-8F6A-4617-95E5-25D21BE72BEB}" type="slidenum">
              <a:rPr lang="de-DE" smtClean="0"/>
              <a:pPr/>
              <a:t>‹#›</a:t>
            </a:fld>
            <a:endParaRPr lang="de-DE" dirty="0"/>
          </a:p>
        </p:txBody>
      </p:sp>
      <p:sp>
        <p:nvSpPr>
          <p:cNvPr id="10" name="Titel 9">
            <a:extLst>
              <a:ext uri="{FF2B5EF4-FFF2-40B4-BE49-F238E27FC236}">
                <a16:creationId xmlns:a16="http://schemas.microsoft.com/office/drawing/2014/main" id="{C5DEC27B-46A8-4C68-55ED-F7238726B244}"/>
              </a:ext>
            </a:extLst>
          </p:cNvPr>
          <p:cNvSpPr>
            <a:spLocks noGrp="1"/>
          </p:cNvSpPr>
          <p:nvPr>
            <p:ph type="title"/>
          </p:nvPr>
        </p:nvSpPr>
        <p:spPr bwMode="gray"/>
        <p:txBody>
          <a:bodyPr/>
          <a:lstStyle/>
          <a:p>
            <a:r>
              <a:rPr lang="en-US"/>
              <a:t>Click to edit Master title style</a:t>
            </a:r>
            <a:endParaRPr lang="de-DE"/>
          </a:p>
        </p:txBody>
      </p:sp>
      <p:sp>
        <p:nvSpPr>
          <p:cNvPr id="11" name="Textplatzhalter 44">
            <a:extLst>
              <a:ext uri="{FF2B5EF4-FFF2-40B4-BE49-F238E27FC236}">
                <a16:creationId xmlns:a16="http://schemas.microsoft.com/office/drawing/2014/main" id="{51A311BA-71A9-B0E0-794D-7BE7B93F4286}"/>
              </a:ext>
            </a:extLst>
          </p:cNvPr>
          <p:cNvSpPr>
            <a:spLocks noGrp="1"/>
          </p:cNvSpPr>
          <p:nvPr>
            <p:ph type="body" sz="quarter" idx="25"/>
          </p:nvPr>
        </p:nvSpPr>
        <p:spPr bwMode="gray">
          <a:xfrm>
            <a:off x="514800" y="1836000"/>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2" name="Textplatzhalter 44">
            <a:extLst>
              <a:ext uri="{FF2B5EF4-FFF2-40B4-BE49-F238E27FC236}">
                <a16:creationId xmlns:a16="http://schemas.microsoft.com/office/drawing/2014/main" id="{AC217B17-5E65-CE4C-5777-4372D5190501}"/>
              </a:ext>
            </a:extLst>
          </p:cNvPr>
          <p:cNvSpPr>
            <a:spLocks noGrp="1"/>
          </p:cNvSpPr>
          <p:nvPr>
            <p:ph type="body" sz="quarter" idx="26"/>
          </p:nvPr>
        </p:nvSpPr>
        <p:spPr bwMode="gray">
          <a:xfrm>
            <a:off x="514800" y="3395267"/>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3" name="Textplatzhalter 44">
            <a:extLst>
              <a:ext uri="{FF2B5EF4-FFF2-40B4-BE49-F238E27FC236}">
                <a16:creationId xmlns:a16="http://schemas.microsoft.com/office/drawing/2014/main" id="{1D7158A5-7E6A-4F40-EC71-8706EB12DFC5}"/>
              </a:ext>
            </a:extLst>
          </p:cNvPr>
          <p:cNvSpPr>
            <a:spLocks noGrp="1"/>
          </p:cNvSpPr>
          <p:nvPr>
            <p:ph type="body" sz="quarter" idx="27"/>
          </p:nvPr>
        </p:nvSpPr>
        <p:spPr bwMode="gray">
          <a:xfrm>
            <a:off x="514800" y="4945860"/>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04476988"/>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feile vertikal">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28BBD130-395B-D7DB-AB20-DB398C4B3FAF}"/>
              </a:ext>
            </a:extLst>
          </p:cNvPr>
          <p:cNvSpPr>
            <a:spLocks noGrp="1"/>
          </p:cNvSpPr>
          <p:nvPr>
            <p:ph sz="quarter" idx="14"/>
          </p:nvPr>
        </p:nvSpPr>
        <p:spPr bwMode="gray">
          <a:xfrm>
            <a:off x="3575050" y="1844675"/>
            <a:ext cx="7920000" cy="86440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p:txBody>
      </p:sp>
      <p:sp>
        <p:nvSpPr>
          <p:cNvPr id="21" name="Inhaltsplatzhalter 13">
            <a:extLst>
              <a:ext uri="{FF2B5EF4-FFF2-40B4-BE49-F238E27FC236}">
                <a16:creationId xmlns:a16="http://schemas.microsoft.com/office/drawing/2014/main" id="{B7E37DE7-AD16-C84B-C27C-05E00F14208B}"/>
              </a:ext>
            </a:extLst>
          </p:cNvPr>
          <p:cNvSpPr>
            <a:spLocks noGrp="1"/>
          </p:cNvSpPr>
          <p:nvPr>
            <p:ph sz="quarter" idx="15"/>
          </p:nvPr>
        </p:nvSpPr>
        <p:spPr bwMode="gray">
          <a:xfrm>
            <a:off x="3575050" y="3044556"/>
            <a:ext cx="7920000" cy="86440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p:txBody>
      </p:sp>
      <p:sp>
        <p:nvSpPr>
          <p:cNvPr id="22" name="Inhaltsplatzhalter 13">
            <a:extLst>
              <a:ext uri="{FF2B5EF4-FFF2-40B4-BE49-F238E27FC236}">
                <a16:creationId xmlns:a16="http://schemas.microsoft.com/office/drawing/2014/main" id="{B9C3A96F-90EF-2859-4ABF-5F690BCC0134}"/>
              </a:ext>
            </a:extLst>
          </p:cNvPr>
          <p:cNvSpPr>
            <a:spLocks noGrp="1"/>
          </p:cNvSpPr>
          <p:nvPr>
            <p:ph sz="quarter" idx="16"/>
          </p:nvPr>
        </p:nvSpPr>
        <p:spPr bwMode="gray">
          <a:xfrm>
            <a:off x="3575050" y="4244437"/>
            <a:ext cx="7920000" cy="86440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97F1558F-2D19-4A62-A62E-DBDBF09AAC9F}"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8" name="Inhaltsplatzhalter 13">
            <a:extLst>
              <a:ext uri="{FF2B5EF4-FFF2-40B4-BE49-F238E27FC236}">
                <a16:creationId xmlns:a16="http://schemas.microsoft.com/office/drawing/2014/main" id="{08D96A71-E756-A3DE-CA98-7B0B576F80E2}"/>
              </a:ext>
            </a:extLst>
          </p:cNvPr>
          <p:cNvSpPr>
            <a:spLocks noGrp="1"/>
          </p:cNvSpPr>
          <p:nvPr>
            <p:ph sz="quarter" idx="23"/>
          </p:nvPr>
        </p:nvSpPr>
        <p:spPr bwMode="gray">
          <a:xfrm>
            <a:off x="3575050" y="5444319"/>
            <a:ext cx="7920000" cy="864406"/>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lnSpc>
                <a:spcPts val="1600"/>
              </a:lnSpc>
            </a:pPr>
            <a:r>
              <a:rPr lang="en-US"/>
              <a:t>Click to edit Master text styles</a:t>
            </a:r>
          </a:p>
          <a:p>
            <a:pPr lvl="1">
              <a:lnSpc>
                <a:spcPts val="1600"/>
              </a:lnSpc>
            </a:pPr>
            <a:r>
              <a:rPr lang="en-US"/>
              <a:t>Second level</a:t>
            </a:r>
          </a:p>
          <a:p>
            <a:pPr lvl="2">
              <a:lnSpc>
                <a:spcPts val="1600"/>
              </a:lnSpc>
            </a:pPr>
            <a:r>
              <a:rPr lang="en-US"/>
              <a:t>Third level</a:t>
            </a:r>
          </a:p>
        </p:txBody>
      </p:sp>
      <p:sp>
        <p:nvSpPr>
          <p:cNvPr id="10" name="Titel 9">
            <a:extLst>
              <a:ext uri="{FF2B5EF4-FFF2-40B4-BE49-F238E27FC236}">
                <a16:creationId xmlns:a16="http://schemas.microsoft.com/office/drawing/2014/main" id="{8196D90E-F440-3819-F2E3-6C378559562D}"/>
              </a:ext>
            </a:extLst>
          </p:cNvPr>
          <p:cNvSpPr>
            <a:spLocks noGrp="1"/>
          </p:cNvSpPr>
          <p:nvPr>
            <p:ph type="title"/>
          </p:nvPr>
        </p:nvSpPr>
        <p:spPr bwMode="gray"/>
        <p:txBody>
          <a:bodyPr/>
          <a:lstStyle/>
          <a:p>
            <a:r>
              <a:rPr lang="en-US"/>
              <a:t>Click to edit Master title style</a:t>
            </a:r>
            <a:endParaRPr lang="de-DE"/>
          </a:p>
        </p:txBody>
      </p:sp>
      <p:sp>
        <p:nvSpPr>
          <p:cNvPr id="11" name="Textplatzhalter 44">
            <a:extLst>
              <a:ext uri="{FF2B5EF4-FFF2-40B4-BE49-F238E27FC236}">
                <a16:creationId xmlns:a16="http://schemas.microsoft.com/office/drawing/2014/main" id="{1DD17DB6-8E42-67AE-9AF1-3728EC25C7BB}"/>
              </a:ext>
            </a:extLst>
          </p:cNvPr>
          <p:cNvSpPr>
            <a:spLocks noGrp="1"/>
          </p:cNvSpPr>
          <p:nvPr>
            <p:ph type="body" sz="quarter" idx="25"/>
          </p:nvPr>
        </p:nvSpPr>
        <p:spPr bwMode="gray">
          <a:xfrm>
            <a:off x="514800" y="1836000"/>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2" name="Textplatzhalter 44">
            <a:extLst>
              <a:ext uri="{FF2B5EF4-FFF2-40B4-BE49-F238E27FC236}">
                <a16:creationId xmlns:a16="http://schemas.microsoft.com/office/drawing/2014/main" id="{F251AD35-0F77-EF4B-A6FD-1B0736A13240}"/>
              </a:ext>
            </a:extLst>
          </p:cNvPr>
          <p:cNvSpPr>
            <a:spLocks noGrp="1"/>
          </p:cNvSpPr>
          <p:nvPr>
            <p:ph type="body" sz="quarter" idx="26"/>
          </p:nvPr>
        </p:nvSpPr>
        <p:spPr bwMode="gray">
          <a:xfrm>
            <a:off x="514800" y="3038773"/>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3" name="Textplatzhalter 44">
            <a:extLst>
              <a:ext uri="{FF2B5EF4-FFF2-40B4-BE49-F238E27FC236}">
                <a16:creationId xmlns:a16="http://schemas.microsoft.com/office/drawing/2014/main" id="{1799A2D3-C2D0-D073-612A-F031A7006BD7}"/>
              </a:ext>
            </a:extLst>
          </p:cNvPr>
          <p:cNvSpPr>
            <a:spLocks noGrp="1"/>
          </p:cNvSpPr>
          <p:nvPr>
            <p:ph type="body" sz="quarter" idx="27"/>
          </p:nvPr>
        </p:nvSpPr>
        <p:spPr bwMode="gray">
          <a:xfrm>
            <a:off x="514800" y="4241546"/>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
        <p:nvSpPr>
          <p:cNvPr id="15" name="Textplatzhalter 44">
            <a:extLst>
              <a:ext uri="{FF2B5EF4-FFF2-40B4-BE49-F238E27FC236}">
                <a16:creationId xmlns:a16="http://schemas.microsoft.com/office/drawing/2014/main" id="{59A0F6BE-C036-2293-3CD9-84291F4049B9}"/>
              </a:ext>
            </a:extLst>
          </p:cNvPr>
          <p:cNvSpPr>
            <a:spLocks noGrp="1"/>
          </p:cNvSpPr>
          <p:nvPr>
            <p:ph type="body" sz="quarter" idx="28"/>
          </p:nvPr>
        </p:nvSpPr>
        <p:spPr bwMode="gray">
          <a:xfrm>
            <a:off x="514800" y="5444319"/>
            <a:ext cx="2700000" cy="864406"/>
          </a:xfrm>
          <a:prstGeom prst="homePlate">
            <a:avLst>
              <a:gd name="adj" fmla="val 27582"/>
            </a:avLst>
          </a:prstGeom>
          <a:solidFill>
            <a:schemeClr val="accent1"/>
          </a:solidFill>
        </p:spPr>
        <p:txBody>
          <a:bodyPr vert="horz" lIns="180000" tIns="36000" rIns="72000" bIns="36000" rtlCol="0" anchor="ctr" anchorCtr="0">
            <a:noAutofit/>
          </a:bodyPr>
          <a:lstStyle>
            <a:lvl1pPr>
              <a:defRPr lang="de-DE" dirty="0"/>
            </a:lvl1pPr>
            <a:lvl2pPr>
              <a:defRPr lang="de-DE" dirty="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8695220"/>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nhalte und Bild">
    <p:bg>
      <p:bgPr>
        <a:solidFill>
          <a:schemeClr val="accent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730C8E6-C12C-34F9-BB33-B1A08B0CFE36}"/>
              </a:ext>
            </a:extLst>
          </p:cNvPr>
          <p:cNvSpPr txBox="1"/>
          <p:nvPr userDrawn="1"/>
        </p:nvSpPr>
        <p:spPr>
          <a:xfrm>
            <a:off x="695325" y="2996952"/>
            <a:ext cx="10801350" cy="864096"/>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300"/>
              </a:spcBef>
              <a:spcAft>
                <a:spcPts val="300"/>
              </a:spcAft>
              <a:buClrTx/>
              <a:buSzTx/>
              <a:buFontTx/>
              <a:buNone/>
              <a:tabLst/>
            </a:pPr>
            <a:r>
              <a:rPr kumimoji="0" lang="de-DE" sz="9600" b="0" i="0" u="none" strike="noStrike" kern="1200" cap="none" spc="40" normalizeH="0" baseline="0" noProof="0" dirty="0">
                <a:ln>
                  <a:noFill/>
                </a:ln>
                <a:solidFill>
                  <a:schemeClr val="bg1"/>
                </a:solidFill>
                <a:effectLst/>
                <a:uLnTx/>
                <a:uFillTx/>
                <a:latin typeface="+mj-lt"/>
                <a:ea typeface="+mn-ea"/>
                <a:cs typeface="+mn-cs"/>
              </a:rPr>
              <a:t>Inhalte und Bild</a:t>
            </a:r>
          </a:p>
        </p:txBody>
      </p:sp>
      <p:pic>
        <p:nvPicPr>
          <p:cNvPr id="2" name="Grafik 1">
            <a:extLst>
              <a:ext uri="{FF2B5EF4-FFF2-40B4-BE49-F238E27FC236}">
                <a16:creationId xmlns:a16="http://schemas.microsoft.com/office/drawing/2014/main" id="{0F42CBF2-7C7D-6CAB-A058-A982700BA3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613601" y="553447"/>
            <a:ext cx="918000" cy="209082"/>
          </a:xfrm>
          <a:prstGeom prst="rect">
            <a:avLst/>
          </a:prstGeom>
        </p:spPr>
      </p:pic>
    </p:spTree>
    <p:extLst>
      <p:ext uri="{BB962C8B-B14F-4D97-AF65-F5344CB8AC3E}">
        <p14:creationId xmlns:p14="http://schemas.microsoft.com/office/powerpoint/2010/main" val="2587010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 rechts / Logo farb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785BA5DD-E1A9-9DF9-4FA8-ED13D394BE03}"/>
              </a:ext>
            </a:extLst>
          </p:cNvPr>
          <p:cNvSpPr>
            <a:spLocks noGrp="1"/>
          </p:cNvSpPr>
          <p:nvPr>
            <p:ph type="pic" sz="quarter" idx="14"/>
          </p:nvPr>
        </p:nvSpPr>
        <p:spPr bwMode="gray">
          <a:xfrm>
            <a:off x="6135599" y="0"/>
            <a:ext cx="6056401" cy="6858000"/>
          </a:xfrm>
          <a:solidFill>
            <a:schemeClr val="bg1">
              <a:lumMod val="95000"/>
            </a:schemeClr>
          </a:solidFill>
        </p:spPr>
        <p:txBody>
          <a:bodyPr lIns="72000" tIns="72000" rIns="0"/>
          <a:lstStyle/>
          <a:p>
            <a:r>
              <a:rPr lang="en-US"/>
              <a:t>Click icon to add picture</a:t>
            </a:r>
            <a:endParaRPr lang="de-DE" dirty="0"/>
          </a:p>
        </p:txBody>
      </p:sp>
      <p:sp>
        <p:nvSpPr>
          <p:cNvPr id="6" name="Textplatzhalter 5">
            <a:extLst>
              <a:ext uri="{FF2B5EF4-FFF2-40B4-BE49-F238E27FC236}">
                <a16:creationId xmlns:a16="http://schemas.microsoft.com/office/drawing/2014/main" id="{4B4811E3-C1C1-871C-6029-BF45F2EF82F9}"/>
              </a:ext>
            </a:extLst>
          </p:cNvPr>
          <p:cNvSpPr>
            <a:spLocks noGrp="1"/>
          </p:cNvSpPr>
          <p:nvPr>
            <p:ph type="body" sz="quarter" idx="29" hasCustomPrompt="1"/>
          </p:nvPr>
        </p:nvSpPr>
        <p:spPr bwMode="black">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5324" y="1844675"/>
            <a:ext cx="5040000" cy="4455323"/>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Bildplatzhalter 11">
            <a:extLst>
              <a:ext uri="{FF2B5EF4-FFF2-40B4-BE49-F238E27FC236}">
                <a16:creationId xmlns:a16="http://schemas.microsoft.com/office/drawing/2014/main" id="{F28DE939-76E1-9BC4-AD48-44B6AE480E19}"/>
              </a:ext>
            </a:extLst>
          </p:cNvPr>
          <p:cNvSpPr>
            <a:spLocks noGrp="1"/>
          </p:cNvSpPr>
          <p:nvPr>
            <p:ph type="pic" sz="quarter" idx="24"/>
          </p:nvPr>
        </p:nvSpPr>
        <p:spPr bwMode="gray">
          <a:xfrm>
            <a:off x="695324" y="508592"/>
            <a:ext cx="504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7" name="Rechteck 6">
            <a:extLst>
              <a:ext uri="{FF2B5EF4-FFF2-40B4-BE49-F238E27FC236}">
                <a16:creationId xmlns:a16="http://schemas.microsoft.com/office/drawing/2014/main" id="{AD8253A6-7664-FB84-D420-1599D8A282E7}"/>
              </a:ext>
            </a:extLst>
          </p:cNvPr>
          <p:cNvSpPr/>
          <p:nvPr userDrawn="1"/>
        </p:nvSpPr>
        <p:spPr bwMode="gray">
          <a:xfrm>
            <a:off x="6056400" y="0"/>
            <a:ext cx="79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8" name="Datumsplatzhalter 7">
            <a:extLst>
              <a:ext uri="{FF2B5EF4-FFF2-40B4-BE49-F238E27FC236}">
                <a16:creationId xmlns:a16="http://schemas.microsoft.com/office/drawing/2014/main" id="{CBC55768-D241-8395-B3EE-57F91E5A5F98}"/>
              </a:ext>
            </a:extLst>
          </p:cNvPr>
          <p:cNvSpPr>
            <a:spLocks noGrp="1"/>
          </p:cNvSpPr>
          <p:nvPr>
            <p:ph type="dt" sz="half" idx="25"/>
          </p:nvPr>
        </p:nvSpPr>
        <p:spPr bwMode="gray"/>
        <p:txBody>
          <a:bodyPr/>
          <a:lstStyle/>
          <a:p>
            <a:fld id="{FD396C4B-330F-43B4-8F42-C56172FAA657}" type="datetime1">
              <a:rPr lang="de-DE" smtClean="0"/>
              <a:t>30.11.2024</a:t>
            </a:fld>
            <a:endParaRPr lang="de-DE" dirty="0"/>
          </a:p>
        </p:txBody>
      </p:sp>
      <p:sp>
        <p:nvSpPr>
          <p:cNvPr id="11" name="Fußzeilenplatzhalter 10">
            <a:extLst>
              <a:ext uri="{FF2B5EF4-FFF2-40B4-BE49-F238E27FC236}">
                <a16:creationId xmlns:a16="http://schemas.microsoft.com/office/drawing/2014/main" id="{00EA5880-E4D8-90F7-47F3-089F41263EB8}"/>
              </a:ext>
            </a:extLst>
          </p:cNvPr>
          <p:cNvSpPr>
            <a:spLocks noGrp="1"/>
          </p:cNvSpPr>
          <p:nvPr>
            <p:ph type="ftr" sz="quarter" idx="26"/>
          </p:nvPr>
        </p:nvSpPr>
        <p:spPr bwMode="gray"/>
        <p:txBody>
          <a:bodyPr/>
          <a:lstStyle/>
          <a:p>
            <a:r>
              <a:rPr lang="de-DE" dirty="0"/>
              <a:t>Unternehmenspräsentation</a:t>
            </a:r>
          </a:p>
        </p:txBody>
      </p:sp>
      <p:sp>
        <p:nvSpPr>
          <p:cNvPr id="12" name="Foliennummernplatzhalter 11">
            <a:extLst>
              <a:ext uri="{FF2B5EF4-FFF2-40B4-BE49-F238E27FC236}">
                <a16:creationId xmlns:a16="http://schemas.microsoft.com/office/drawing/2014/main" id="{30A3C1A3-C0D2-234C-B6CA-EFF35FD5D6F4}"/>
              </a:ext>
            </a:extLst>
          </p:cNvPr>
          <p:cNvSpPr>
            <a:spLocks noGrp="1"/>
          </p:cNvSpPr>
          <p:nvPr>
            <p:ph type="sldNum" sz="quarter" idx="27"/>
          </p:nvPr>
        </p:nvSpPr>
        <p:spPr bwMode="gray"/>
        <p:txBody>
          <a:bodyPr/>
          <a:lstStyle/>
          <a:p>
            <a:fld id="{1A2CFED3-8F6A-4617-95E5-25D21BE72BEB}" type="slidenum">
              <a:rPr lang="de-DE" smtClean="0"/>
              <a:pPr/>
              <a:t>‹#›</a:t>
            </a:fld>
            <a:endParaRPr lang="de-DE" dirty="0"/>
          </a:p>
        </p:txBody>
      </p:sp>
    </p:spTree>
    <p:extLst>
      <p:ext uri="{BB962C8B-B14F-4D97-AF65-F5344CB8AC3E}">
        <p14:creationId xmlns:p14="http://schemas.microsoft.com/office/powerpoint/2010/main" val="987582919"/>
      </p:ext>
    </p:extLst>
  </p:cSld>
  <p:clrMapOvr>
    <a:masterClrMapping/>
  </p:clrMapOvr>
  <p:hf sldNum="0" hdr="0" ftr="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 rechts / Logo weiss">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785BA5DD-E1A9-9DF9-4FA8-ED13D394BE03}"/>
              </a:ext>
            </a:extLst>
          </p:cNvPr>
          <p:cNvSpPr>
            <a:spLocks noGrp="1"/>
          </p:cNvSpPr>
          <p:nvPr>
            <p:ph type="pic" sz="quarter" idx="14"/>
          </p:nvPr>
        </p:nvSpPr>
        <p:spPr bwMode="gray">
          <a:xfrm>
            <a:off x="6135600" y="0"/>
            <a:ext cx="6056401" cy="6858000"/>
          </a:xfrm>
          <a:solidFill>
            <a:schemeClr val="bg1">
              <a:lumMod val="95000"/>
            </a:schemeClr>
          </a:solidFill>
        </p:spPr>
        <p:txBody>
          <a:bodyPr lIns="72000" tIns="72000" rIns="0"/>
          <a:lstStyle/>
          <a:p>
            <a:r>
              <a:rPr lang="en-US"/>
              <a:t>Click icon to add picture</a:t>
            </a:r>
            <a:endParaRPr lang="de-DE" dirty="0"/>
          </a:p>
        </p:txBody>
      </p:sp>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5324" y="1844675"/>
            <a:ext cx="5040000" cy="4455323"/>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Bildplatzhalter 11">
            <a:extLst>
              <a:ext uri="{FF2B5EF4-FFF2-40B4-BE49-F238E27FC236}">
                <a16:creationId xmlns:a16="http://schemas.microsoft.com/office/drawing/2014/main" id="{F28DE939-76E1-9BC4-AD48-44B6AE480E19}"/>
              </a:ext>
            </a:extLst>
          </p:cNvPr>
          <p:cNvSpPr>
            <a:spLocks noGrp="1"/>
          </p:cNvSpPr>
          <p:nvPr>
            <p:ph type="pic" sz="quarter" idx="24"/>
          </p:nvPr>
        </p:nvSpPr>
        <p:spPr bwMode="gray">
          <a:xfrm>
            <a:off x="695324" y="508592"/>
            <a:ext cx="504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7" name="Rechteck 6">
            <a:extLst>
              <a:ext uri="{FF2B5EF4-FFF2-40B4-BE49-F238E27FC236}">
                <a16:creationId xmlns:a16="http://schemas.microsoft.com/office/drawing/2014/main" id="{AD8253A6-7664-FB84-D420-1599D8A282E7}"/>
              </a:ext>
            </a:extLst>
          </p:cNvPr>
          <p:cNvSpPr/>
          <p:nvPr userDrawn="1"/>
        </p:nvSpPr>
        <p:spPr bwMode="gray">
          <a:xfrm>
            <a:off x="6056400" y="0"/>
            <a:ext cx="79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8" name="Datumsplatzhalter 7">
            <a:extLst>
              <a:ext uri="{FF2B5EF4-FFF2-40B4-BE49-F238E27FC236}">
                <a16:creationId xmlns:a16="http://schemas.microsoft.com/office/drawing/2014/main" id="{CBC55768-D241-8395-B3EE-57F91E5A5F98}"/>
              </a:ext>
            </a:extLst>
          </p:cNvPr>
          <p:cNvSpPr>
            <a:spLocks noGrp="1"/>
          </p:cNvSpPr>
          <p:nvPr>
            <p:ph type="dt" sz="half" idx="25"/>
          </p:nvPr>
        </p:nvSpPr>
        <p:spPr bwMode="gray"/>
        <p:txBody>
          <a:bodyPr/>
          <a:lstStyle/>
          <a:p>
            <a:fld id="{FD396C4B-330F-43B4-8F42-C56172FAA657}" type="datetime1">
              <a:rPr lang="de-DE" smtClean="0"/>
              <a:t>30.11.2024</a:t>
            </a:fld>
            <a:endParaRPr lang="de-DE" dirty="0"/>
          </a:p>
        </p:txBody>
      </p:sp>
      <p:sp>
        <p:nvSpPr>
          <p:cNvPr id="11" name="Fußzeilenplatzhalter 10">
            <a:extLst>
              <a:ext uri="{FF2B5EF4-FFF2-40B4-BE49-F238E27FC236}">
                <a16:creationId xmlns:a16="http://schemas.microsoft.com/office/drawing/2014/main" id="{00EA5880-E4D8-90F7-47F3-089F41263EB8}"/>
              </a:ext>
            </a:extLst>
          </p:cNvPr>
          <p:cNvSpPr>
            <a:spLocks noGrp="1"/>
          </p:cNvSpPr>
          <p:nvPr>
            <p:ph type="ftr" sz="quarter" idx="26"/>
          </p:nvPr>
        </p:nvSpPr>
        <p:spPr bwMode="gray"/>
        <p:txBody>
          <a:bodyPr/>
          <a:lstStyle/>
          <a:p>
            <a:r>
              <a:rPr lang="de-DE" dirty="0"/>
              <a:t>Unternehmenspräsentation</a:t>
            </a:r>
          </a:p>
        </p:txBody>
      </p:sp>
      <p:sp>
        <p:nvSpPr>
          <p:cNvPr id="12" name="Foliennummernplatzhalter 11">
            <a:extLst>
              <a:ext uri="{FF2B5EF4-FFF2-40B4-BE49-F238E27FC236}">
                <a16:creationId xmlns:a16="http://schemas.microsoft.com/office/drawing/2014/main" id="{30A3C1A3-C0D2-234C-B6CA-EFF35FD5D6F4}"/>
              </a:ext>
            </a:extLst>
          </p:cNvPr>
          <p:cNvSpPr>
            <a:spLocks noGrp="1"/>
          </p:cNvSpPr>
          <p:nvPr>
            <p:ph type="sldNum" sz="quarter" idx="27"/>
          </p:nvPr>
        </p:nvSpPr>
        <p:spPr bwMode="gray"/>
        <p:txBody>
          <a:bodyPr/>
          <a:lstStyle/>
          <a:p>
            <a:fld id="{1A2CFED3-8F6A-4617-95E5-25D21BE72BEB}" type="slidenum">
              <a:rPr lang="de-DE" smtClean="0"/>
              <a:pPr/>
              <a:t>‹#›</a:t>
            </a:fld>
            <a:endParaRPr lang="de-DE" dirty="0"/>
          </a:p>
        </p:txBody>
      </p:sp>
      <p:sp>
        <p:nvSpPr>
          <p:cNvPr id="2" name="Textplatzhalter 5">
            <a:extLst>
              <a:ext uri="{FF2B5EF4-FFF2-40B4-BE49-F238E27FC236}">
                <a16:creationId xmlns:a16="http://schemas.microsoft.com/office/drawing/2014/main" id="{8FAD3EAE-EEE8-FB5F-5CBE-F3D6E7E5FA8F}"/>
              </a:ext>
            </a:extLst>
          </p:cNvPr>
          <p:cNvSpPr>
            <a:spLocks noGrp="1"/>
          </p:cNvSpPr>
          <p:nvPr>
            <p:ph type="body" sz="quarter" idx="29" hasCustomPrompt="1"/>
          </p:nvPr>
        </p:nvSpPr>
        <p:spPr bwMode="white">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617081182"/>
      </p:ext>
    </p:extLst>
  </p:cSld>
  <p:clrMapOvr>
    <a:masterClrMapping/>
  </p:clrMapOvr>
  <p:hf sldNum="0" hdr="0" ftr="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785BA5DD-E1A9-9DF9-4FA8-ED13D394BE03}"/>
              </a:ext>
            </a:extLst>
          </p:cNvPr>
          <p:cNvSpPr>
            <a:spLocks noGrp="1"/>
          </p:cNvSpPr>
          <p:nvPr>
            <p:ph type="pic" sz="quarter" idx="14"/>
          </p:nvPr>
        </p:nvSpPr>
        <p:spPr bwMode="gray">
          <a:xfrm>
            <a:off x="0" y="0"/>
            <a:ext cx="6056400" cy="6876000"/>
          </a:xfrm>
          <a:solidFill>
            <a:schemeClr val="bg1">
              <a:lumMod val="95000"/>
            </a:schemeClr>
          </a:solidFill>
        </p:spPr>
        <p:txBody>
          <a:bodyPr lIns="72000" tIns="72000"/>
          <a:lstStyle/>
          <a:p>
            <a:r>
              <a:rPr lang="en-US"/>
              <a:t>Click icon to add picture</a:t>
            </a:r>
            <a:endParaRPr lang="de-DE" dirty="0"/>
          </a:p>
        </p:txBody>
      </p:sp>
      <p:sp>
        <p:nvSpPr>
          <p:cNvPr id="7" name="Rechteck 6">
            <a:extLst>
              <a:ext uri="{FF2B5EF4-FFF2-40B4-BE49-F238E27FC236}">
                <a16:creationId xmlns:a16="http://schemas.microsoft.com/office/drawing/2014/main" id="{68A26B9F-E5C6-E254-91A6-B5371B2FF3C0}"/>
              </a:ext>
            </a:extLst>
          </p:cNvPr>
          <p:cNvSpPr/>
          <p:nvPr userDrawn="1"/>
        </p:nvSpPr>
        <p:spPr bwMode="gray">
          <a:xfrm>
            <a:off x="6056400" y="0"/>
            <a:ext cx="79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8" name="Datumsplatzhalter 7">
            <a:extLst>
              <a:ext uri="{FF2B5EF4-FFF2-40B4-BE49-F238E27FC236}">
                <a16:creationId xmlns:a16="http://schemas.microsoft.com/office/drawing/2014/main" id="{04582511-5275-2F25-1593-6F6623C9D05A}"/>
              </a:ext>
            </a:extLst>
          </p:cNvPr>
          <p:cNvSpPr>
            <a:spLocks noGrp="1"/>
          </p:cNvSpPr>
          <p:nvPr>
            <p:ph type="dt" sz="half" idx="25"/>
          </p:nvPr>
        </p:nvSpPr>
        <p:spPr bwMode="gray"/>
        <p:txBody>
          <a:bodyPr/>
          <a:lstStyle/>
          <a:p>
            <a:fld id="{9E2B9F34-56FA-484F-BF35-683BE469C0E3}" type="datetime1">
              <a:rPr lang="de-DE" smtClean="0"/>
              <a:pPr/>
              <a:t>30.11.2024</a:t>
            </a:fld>
            <a:endParaRPr lang="de-DE" dirty="0"/>
          </a:p>
        </p:txBody>
      </p:sp>
      <p:sp>
        <p:nvSpPr>
          <p:cNvPr id="10" name="Fußzeilenplatzhalter 9">
            <a:extLst>
              <a:ext uri="{FF2B5EF4-FFF2-40B4-BE49-F238E27FC236}">
                <a16:creationId xmlns:a16="http://schemas.microsoft.com/office/drawing/2014/main" id="{FD2FD24F-2FC9-E9B5-51EE-5DAFCAB0AC79}"/>
              </a:ext>
            </a:extLst>
          </p:cNvPr>
          <p:cNvSpPr>
            <a:spLocks noGrp="1"/>
          </p:cNvSpPr>
          <p:nvPr>
            <p:ph type="ftr" sz="quarter" idx="26"/>
          </p:nvPr>
        </p:nvSpPr>
        <p:spPr bwMode="gray"/>
        <p:txBody>
          <a:bodyPr/>
          <a:lstStyle/>
          <a:p>
            <a:r>
              <a:rPr lang="de-DE" dirty="0"/>
              <a:t>Unternehmenspräsentation</a:t>
            </a:r>
          </a:p>
        </p:txBody>
      </p:sp>
      <p:sp>
        <p:nvSpPr>
          <p:cNvPr id="11" name="Foliennummernplatzhalter 10">
            <a:extLst>
              <a:ext uri="{FF2B5EF4-FFF2-40B4-BE49-F238E27FC236}">
                <a16:creationId xmlns:a16="http://schemas.microsoft.com/office/drawing/2014/main" id="{11DFD5E2-6B67-1B8D-CC9E-5ED0B23328C3}"/>
              </a:ext>
            </a:extLst>
          </p:cNvPr>
          <p:cNvSpPr>
            <a:spLocks noGrp="1"/>
          </p:cNvSpPr>
          <p:nvPr>
            <p:ph type="sldNum" sz="quarter" idx="27"/>
          </p:nvPr>
        </p:nvSpPr>
        <p:spPr bwMode="gray"/>
        <p:txBody>
          <a:bodyPr/>
          <a:lstStyle/>
          <a:p>
            <a:fld id="{1A2CFED3-8F6A-4617-95E5-25D21BE72BEB}" type="slidenum">
              <a:rPr lang="de-DE" smtClean="0"/>
              <a:pPr/>
              <a:t>‹#›</a:t>
            </a:fld>
            <a:endParaRPr lang="de-DE" dirty="0"/>
          </a:p>
        </p:txBody>
      </p:sp>
      <p:sp>
        <p:nvSpPr>
          <p:cNvPr id="12" name="Inhaltsplatzhalter 2">
            <a:extLst>
              <a:ext uri="{FF2B5EF4-FFF2-40B4-BE49-F238E27FC236}">
                <a16:creationId xmlns:a16="http://schemas.microsoft.com/office/drawing/2014/main" id="{3979EF39-CC39-682F-714B-AF911D836900}"/>
              </a:ext>
            </a:extLst>
          </p:cNvPr>
          <p:cNvSpPr>
            <a:spLocks noGrp="1"/>
          </p:cNvSpPr>
          <p:nvPr>
            <p:ph idx="1"/>
          </p:nvPr>
        </p:nvSpPr>
        <p:spPr bwMode="gray">
          <a:xfrm>
            <a:off x="6456675" y="1844675"/>
            <a:ext cx="5040000" cy="4455323"/>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Bildplatzhalter 11">
            <a:extLst>
              <a:ext uri="{FF2B5EF4-FFF2-40B4-BE49-F238E27FC236}">
                <a16:creationId xmlns:a16="http://schemas.microsoft.com/office/drawing/2014/main" id="{0EFC2EA6-0681-CF88-DC72-352D1D905A0C}"/>
              </a:ext>
            </a:extLst>
          </p:cNvPr>
          <p:cNvSpPr>
            <a:spLocks noGrp="1"/>
          </p:cNvSpPr>
          <p:nvPr>
            <p:ph type="pic" sz="quarter" idx="24"/>
          </p:nvPr>
        </p:nvSpPr>
        <p:spPr bwMode="gray">
          <a:xfrm>
            <a:off x="6456675" y="508592"/>
            <a:ext cx="378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Tree>
    <p:extLst>
      <p:ext uri="{BB962C8B-B14F-4D97-AF65-F5344CB8AC3E}">
        <p14:creationId xmlns:p14="http://schemas.microsoft.com/office/powerpoint/2010/main" val="2754638837"/>
      </p:ext>
    </p:extLst>
  </p:cSld>
  <p:clrMapOvr>
    <a:masterClrMapping/>
  </p:clrMapOvr>
  <p:hf hdr="0" dt="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schräg links">
    <p:spTree>
      <p:nvGrpSpPr>
        <p:cNvPr id="1" name=""/>
        <p:cNvGrpSpPr/>
        <p:nvPr/>
      </p:nvGrpSpPr>
      <p:grpSpPr>
        <a:xfrm>
          <a:off x="0" y="0"/>
          <a:ext cx="0" cy="0"/>
          <a:chOff x="0" y="0"/>
          <a:chExt cx="0" cy="0"/>
        </a:xfrm>
      </p:grpSpPr>
      <p:sp>
        <p:nvSpPr>
          <p:cNvPr id="13" name="Parallelogramm 12">
            <a:extLst>
              <a:ext uri="{FF2B5EF4-FFF2-40B4-BE49-F238E27FC236}">
                <a16:creationId xmlns:a16="http://schemas.microsoft.com/office/drawing/2014/main" id="{36684B92-8F61-75A7-87DE-79805B59FD4A}"/>
              </a:ext>
            </a:extLst>
          </p:cNvPr>
          <p:cNvSpPr/>
          <p:nvPr userDrawn="1"/>
        </p:nvSpPr>
        <p:spPr bwMode="gray">
          <a:xfrm>
            <a:off x="4129072" y="0"/>
            <a:ext cx="2275200" cy="6858000"/>
          </a:xfrm>
          <a:prstGeom prst="parallelogram">
            <a:avLst>
              <a:gd name="adj" fmla="val 9672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23" name="Bildplatzhalter 22">
            <a:extLst>
              <a:ext uri="{FF2B5EF4-FFF2-40B4-BE49-F238E27FC236}">
                <a16:creationId xmlns:a16="http://schemas.microsoft.com/office/drawing/2014/main" id="{DEE065EB-D3B2-9448-8048-B49E1C1E73CF}"/>
              </a:ext>
            </a:extLst>
          </p:cNvPr>
          <p:cNvSpPr>
            <a:spLocks noGrp="1"/>
          </p:cNvSpPr>
          <p:nvPr>
            <p:ph type="pic" sz="quarter" idx="22"/>
          </p:nvPr>
        </p:nvSpPr>
        <p:spPr bwMode="gray">
          <a:xfrm>
            <a:off x="0" y="-15010"/>
            <a:ext cx="6336000" cy="6887422"/>
          </a:xfrm>
          <a:custGeom>
            <a:avLst/>
            <a:gdLst>
              <a:gd name="connsiteX0" fmla="*/ 0 w 5003800"/>
              <a:gd name="connsiteY0" fmla="*/ 0 h 5164138"/>
              <a:gd name="connsiteX1" fmla="*/ 5003800 w 5003800"/>
              <a:gd name="connsiteY1" fmla="*/ 0 h 5164138"/>
              <a:gd name="connsiteX2" fmla="*/ 5003800 w 5003800"/>
              <a:gd name="connsiteY2" fmla="*/ 5164138 h 5164138"/>
              <a:gd name="connsiteX3" fmla="*/ 0 w 5003800"/>
              <a:gd name="connsiteY3" fmla="*/ 5164138 h 5164138"/>
              <a:gd name="connsiteX4" fmla="*/ 0 w 5003800"/>
              <a:gd name="connsiteY4" fmla="*/ 0 h 5164138"/>
              <a:gd name="connsiteX0" fmla="*/ 0 w 5003800"/>
              <a:gd name="connsiteY0" fmla="*/ 0 h 5443107"/>
              <a:gd name="connsiteX1" fmla="*/ 5003800 w 5003800"/>
              <a:gd name="connsiteY1" fmla="*/ 0 h 5443107"/>
              <a:gd name="connsiteX2" fmla="*/ 2973522 w 5003800"/>
              <a:gd name="connsiteY2" fmla="*/ 5443107 h 5443107"/>
              <a:gd name="connsiteX3" fmla="*/ 0 w 5003800"/>
              <a:gd name="connsiteY3" fmla="*/ 5164138 h 5443107"/>
              <a:gd name="connsiteX4" fmla="*/ 0 w 5003800"/>
              <a:gd name="connsiteY4" fmla="*/ 0 h 5443107"/>
              <a:gd name="connsiteX0" fmla="*/ 0 w 4864315"/>
              <a:gd name="connsiteY0" fmla="*/ 402956 h 5846063"/>
              <a:gd name="connsiteX1" fmla="*/ 4864315 w 4864315"/>
              <a:gd name="connsiteY1" fmla="*/ 0 h 5846063"/>
              <a:gd name="connsiteX2" fmla="*/ 2973522 w 4864315"/>
              <a:gd name="connsiteY2" fmla="*/ 5846063 h 5846063"/>
              <a:gd name="connsiteX3" fmla="*/ 0 w 4864315"/>
              <a:gd name="connsiteY3" fmla="*/ 5567094 h 5846063"/>
              <a:gd name="connsiteX4" fmla="*/ 0 w 4864315"/>
              <a:gd name="connsiteY4" fmla="*/ 402956 h 5846063"/>
              <a:gd name="connsiteX0" fmla="*/ 7749 w 4864315"/>
              <a:gd name="connsiteY0" fmla="*/ 38746 h 5846063"/>
              <a:gd name="connsiteX1" fmla="*/ 4864315 w 4864315"/>
              <a:gd name="connsiteY1" fmla="*/ 0 h 5846063"/>
              <a:gd name="connsiteX2" fmla="*/ 2973522 w 4864315"/>
              <a:gd name="connsiteY2" fmla="*/ 5846063 h 5846063"/>
              <a:gd name="connsiteX3" fmla="*/ 0 w 4864315"/>
              <a:gd name="connsiteY3" fmla="*/ 5567094 h 5846063"/>
              <a:gd name="connsiteX4" fmla="*/ 7749 w 4864315"/>
              <a:gd name="connsiteY4" fmla="*/ 38746 h 5846063"/>
              <a:gd name="connsiteX0" fmla="*/ 0 w 5042546"/>
              <a:gd name="connsiteY0" fmla="*/ 15499 h 5846063"/>
              <a:gd name="connsiteX1" fmla="*/ 5042546 w 5042546"/>
              <a:gd name="connsiteY1" fmla="*/ 0 h 5846063"/>
              <a:gd name="connsiteX2" fmla="*/ 3151753 w 5042546"/>
              <a:gd name="connsiteY2" fmla="*/ 5846063 h 5846063"/>
              <a:gd name="connsiteX3" fmla="*/ 178231 w 5042546"/>
              <a:gd name="connsiteY3" fmla="*/ 5567094 h 5846063"/>
              <a:gd name="connsiteX4" fmla="*/ 0 w 5042546"/>
              <a:gd name="connsiteY4" fmla="*/ 15499 h 5846063"/>
              <a:gd name="connsiteX0" fmla="*/ 23247 w 5065793"/>
              <a:gd name="connsiteY0" fmla="*/ 15499 h 5846063"/>
              <a:gd name="connsiteX1" fmla="*/ 5065793 w 5065793"/>
              <a:gd name="connsiteY1" fmla="*/ 0 h 5846063"/>
              <a:gd name="connsiteX2" fmla="*/ 3175000 w 5065793"/>
              <a:gd name="connsiteY2" fmla="*/ 5846063 h 5846063"/>
              <a:gd name="connsiteX3" fmla="*/ 0 w 5065793"/>
              <a:gd name="connsiteY3" fmla="*/ 5737575 h 5846063"/>
              <a:gd name="connsiteX4" fmla="*/ 23247 w 5065793"/>
              <a:gd name="connsiteY4" fmla="*/ 15499 h 5846063"/>
              <a:gd name="connsiteX0" fmla="*/ 23247 w 5065793"/>
              <a:gd name="connsiteY0" fmla="*/ 15499 h 5850724"/>
              <a:gd name="connsiteX1" fmla="*/ 5065793 w 5065793"/>
              <a:gd name="connsiteY1" fmla="*/ 0 h 5850724"/>
              <a:gd name="connsiteX2" fmla="*/ 3175000 w 5065793"/>
              <a:gd name="connsiteY2" fmla="*/ 5846063 h 5850724"/>
              <a:gd name="connsiteX3" fmla="*/ 0 w 5065793"/>
              <a:gd name="connsiteY3" fmla="*/ 5850724 h 5850724"/>
              <a:gd name="connsiteX4" fmla="*/ 23247 w 5065793"/>
              <a:gd name="connsiteY4" fmla="*/ 15499 h 5850724"/>
              <a:gd name="connsiteX0" fmla="*/ 23247 w 5065793"/>
              <a:gd name="connsiteY0" fmla="*/ 21786 h 5850724"/>
              <a:gd name="connsiteX1" fmla="*/ 5065793 w 5065793"/>
              <a:gd name="connsiteY1" fmla="*/ 0 h 5850724"/>
              <a:gd name="connsiteX2" fmla="*/ 3175000 w 5065793"/>
              <a:gd name="connsiteY2" fmla="*/ 5846063 h 5850724"/>
              <a:gd name="connsiteX3" fmla="*/ 0 w 5065793"/>
              <a:gd name="connsiteY3" fmla="*/ 5850724 h 5850724"/>
              <a:gd name="connsiteX4" fmla="*/ 23247 w 5065793"/>
              <a:gd name="connsiteY4" fmla="*/ 21786 h 5850724"/>
              <a:gd name="connsiteX0" fmla="*/ 11728 w 5065793"/>
              <a:gd name="connsiteY0" fmla="*/ 21786 h 5850724"/>
              <a:gd name="connsiteX1" fmla="*/ 5065793 w 5065793"/>
              <a:gd name="connsiteY1" fmla="*/ 0 h 5850724"/>
              <a:gd name="connsiteX2" fmla="*/ 3175000 w 5065793"/>
              <a:gd name="connsiteY2" fmla="*/ 5846063 h 5850724"/>
              <a:gd name="connsiteX3" fmla="*/ 0 w 5065793"/>
              <a:gd name="connsiteY3" fmla="*/ 5850724 h 5850724"/>
              <a:gd name="connsiteX4" fmla="*/ 11728 w 5065793"/>
              <a:gd name="connsiteY4" fmla="*/ 21786 h 5850724"/>
              <a:gd name="connsiteX0" fmla="*/ 11728 w 4927560"/>
              <a:gd name="connsiteY0" fmla="*/ 21786 h 5850724"/>
              <a:gd name="connsiteX1" fmla="*/ 4927560 w 4927560"/>
              <a:gd name="connsiteY1" fmla="*/ 0 h 5850724"/>
              <a:gd name="connsiteX2" fmla="*/ 3175000 w 4927560"/>
              <a:gd name="connsiteY2" fmla="*/ 5846063 h 5850724"/>
              <a:gd name="connsiteX3" fmla="*/ 0 w 4927560"/>
              <a:gd name="connsiteY3" fmla="*/ 5850724 h 5850724"/>
              <a:gd name="connsiteX4" fmla="*/ 11728 w 4927560"/>
              <a:gd name="connsiteY4" fmla="*/ 21786 h 5850724"/>
              <a:gd name="connsiteX0" fmla="*/ 29006 w 4927560"/>
              <a:gd name="connsiteY0" fmla="*/ 0 h 5860369"/>
              <a:gd name="connsiteX1" fmla="*/ 4927560 w 4927560"/>
              <a:gd name="connsiteY1" fmla="*/ 9645 h 5860369"/>
              <a:gd name="connsiteX2" fmla="*/ 3175000 w 4927560"/>
              <a:gd name="connsiteY2" fmla="*/ 5855708 h 5860369"/>
              <a:gd name="connsiteX3" fmla="*/ 0 w 4927560"/>
              <a:gd name="connsiteY3" fmla="*/ 5860369 h 5860369"/>
              <a:gd name="connsiteX4" fmla="*/ 29006 w 4927560"/>
              <a:gd name="connsiteY4" fmla="*/ 0 h 5860369"/>
              <a:gd name="connsiteX0" fmla="*/ 11726 w 4927560"/>
              <a:gd name="connsiteY0" fmla="*/ 9213 h 5850724"/>
              <a:gd name="connsiteX1" fmla="*/ 4927560 w 4927560"/>
              <a:gd name="connsiteY1" fmla="*/ 0 h 5850724"/>
              <a:gd name="connsiteX2" fmla="*/ 3175000 w 4927560"/>
              <a:gd name="connsiteY2" fmla="*/ 5846063 h 5850724"/>
              <a:gd name="connsiteX3" fmla="*/ 0 w 4927560"/>
              <a:gd name="connsiteY3" fmla="*/ 5850724 h 5850724"/>
              <a:gd name="connsiteX4" fmla="*/ 11726 w 4927560"/>
              <a:gd name="connsiteY4" fmla="*/ 9213 h 5850724"/>
              <a:gd name="connsiteX0" fmla="*/ 17486 w 4927560"/>
              <a:gd name="connsiteY0" fmla="*/ 34358 h 5850724"/>
              <a:gd name="connsiteX1" fmla="*/ 4927560 w 4927560"/>
              <a:gd name="connsiteY1" fmla="*/ 0 h 5850724"/>
              <a:gd name="connsiteX2" fmla="*/ 3175000 w 4927560"/>
              <a:gd name="connsiteY2" fmla="*/ 5846063 h 5850724"/>
              <a:gd name="connsiteX3" fmla="*/ 0 w 4927560"/>
              <a:gd name="connsiteY3" fmla="*/ 5850724 h 5850724"/>
              <a:gd name="connsiteX4" fmla="*/ 17486 w 4927560"/>
              <a:gd name="connsiteY4" fmla="*/ 34358 h 5850724"/>
              <a:gd name="connsiteX0" fmla="*/ 724 w 4933837"/>
              <a:gd name="connsiteY0" fmla="*/ 2927 h 5850724"/>
              <a:gd name="connsiteX1" fmla="*/ 4933837 w 4933837"/>
              <a:gd name="connsiteY1" fmla="*/ 0 h 5850724"/>
              <a:gd name="connsiteX2" fmla="*/ 3181277 w 4933837"/>
              <a:gd name="connsiteY2" fmla="*/ 5846063 h 5850724"/>
              <a:gd name="connsiteX3" fmla="*/ 6277 w 4933837"/>
              <a:gd name="connsiteY3" fmla="*/ 5850724 h 5850724"/>
              <a:gd name="connsiteX4" fmla="*/ 724 w 4933837"/>
              <a:gd name="connsiteY4" fmla="*/ 2927 h 5850724"/>
              <a:gd name="connsiteX0" fmla="*/ 530 w 4933643"/>
              <a:gd name="connsiteY0" fmla="*/ 2927 h 5850724"/>
              <a:gd name="connsiteX1" fmla="*/ 4933643 w 4933643"/>
              <a:gd name="connsiteY1" fmla="*/ 0 h 5850724"/>
              <a:gd name="connsiteX2" fmla="*/ 3181083 w 4933643"/>
              <a:gd name="connsiteY2" fmla="*/ 5846063 h 5850724"/>
              <a:gd name="connsiteX3" fmla="*/ 11842 w 4933643"/>
              <a:gd name="connsiteY3" fmla="*/ 5850724 h 5850724"/>
              <a:gd name="connsiteX4" fmla="*/ 530 w 4933643"/>
              <a:gd name="connsiteY4" fmla="*/ 2927 h 5850724"/>
              <a:gd name="connsiteX0" fmla="*/ 724 w 4933837"/>
              <a:gd name="connsiteY0" fmla="*/ 2927 h 5846063"/>
              <a:gd name="connsiteX1" fmla="*/ 4933837 w 4933837"/>
              <a:gd name="connsiteY1" fmla="*/ 0 h 5846063"/>
              <a:gd name="connsiteX2" fmla="*/ 3181277 w 4933837"/>
              <a:gd name="connsiteY2" fmla="*/ 5846063 h 5846063"/>
              <a:gd name="connsiteX3" fmla="*/ 6276 w 4933837"/>
              <a:gd name="connsiteY3" fmla="*/ 5844438 h 5846063"/>
              <a:gd name="connsiteX4" fmla="*/ 724 w 4933837"/>
              <a:gd name="connsiteY4" fmla="*/ 2927 h 5846063"/>
              <a:gd name="connsiteX0" fmla="*/ 724 w 4933837"/>
              <a:gd name="connsiteY0" fmla="*/ 2927 h 5844438"/>
              <a:gd name="connsiteX1" fmla="*/ 4933837 w 4933837"/>
              <a:gd name="connsiteY1" fmla="*/ 0 h 5844438"/>
              <a:gd name="connsiteX2" fmla="*/ 3227354 w 4933837"/>
              <a:gd name="connsiteY2" fmla="*/ 5827204 h 5844438"/>
              <a:gd name="connsiteX3" fmla="*/ 6276 w 4933837"/>
              <a:gd name="connsiteY3" fmla="*/ 5844438 h 5844438"/>
              <a:gd name="connsiteX4" fmla="*/ 724 w 4933837"/>
              <a:gd name="connsiteY4" fmla="*/ 2927 h 5844438"/>
              <a:gd name="connsiteX0" fmla="*/ 724 w 4951116"/>
              <a:gd name="connsiteY0" fmla="*/ 2927 h 5844438"/>
              <a:gd name="connsiteX1" fmla="*/ 4951116 w 4951116"/>
              <a:gd name="connsiteY1" fmla="*/ 0 h 5844438"/>
              <a:gd name="connsiteX2" fmla="*/ 3227354 w 4951116"/>
              <a:gd name="connsiteY2" fmla="*/ 5827204 h 5844438"/>
              <a:gd name="connsiteX3" fmla="*/ 6276 w 4951116"/>
              <a:gd name="connsiteY3" fmla="*/ 5844438 h 5844438"/>
              <a:gd name="connsiteX4" fmla="*/ 724 w 4951116"/>
              <a:gd name="connsiteY4" fmla="*/ 2927 h 5844438"/>
              <a:gd name="connsiteX0" fmla="*/ 724 w 4951116"/>
              <a:gd name="connsiteY0" fmla="*/ 2927 h 5844438"/>
              <a:gd name="connsiteX1" fmla="*/ 4951116 w 4951116"/>
              <a:gd name="connsiteY1" fmla="*/ 0 h 5844438"/>
              <a:gd name="connsiteX2" fmla="*/ 3227354 w 4951116"/>
              <a:gd name="connsiteY2" fmla="*/ 5827204 h 5844438"/>
              <a:gd name="connsiteX3" fmla="*/ 6276 w 4951116"/>
              <a:gd name="connsiteY3" fmla="*/ 5844438 h 5844438"/>
              <a:gd name="connsiteX4" fmla="*/ 724 w 4951116"/>
              <a:gd name="connsiteY4" fmla="*/ 2927 h 5844438"/>
              <a:gd name="connsiteX0" fmla="*/ 724 w 4951116"/>
              <a:gd name="connsiteY0" fmla="*/ 2927 h 5844438"/>
              <a:gd name="connsiteX1" fmla="*/ 4951116 w 4951116"/>
              <a:gd name="connsiteY1" fmla="*/ 0 h 5844438"/>
              <a:gd name="connsiteX2" fmla="*/ 3227354 w 4951116"/>
              <a:gd name="connsiteY2" fmla="*/ 5827204 h 5844438"/>
              <a:gd name="connsiteX3" fmla="*/ 6276 w 4951116"/>
              <a:gd name="connsiteY3" fmla="*/ 5844438 h 5844438"/>
              <a:gd name="connsiteX4" fmla="*/ 724 w 4951116"/>
              <a:gd name="connsiteY4" fmla="*/ 2927 h 5844438"/>
              <a:gd name="connsiteX0" fmla="*/ 724 w 4951116"/>
              <a:gd name="connsiteY0" fmla="*/ 2927 h 5844438"/>
              <a:gd name="connsiteX1" fmla="*/ 4951116 w 4951116"/>
              <a:gd name="connsiteY1" fmla="*/ 0 h 5844438"/>
              <a:gd name="connsiteX2" fmla="*/ 3227354 w 4951116"/>
              <a:gd name="connsiteY2" fmla="*/ 5827204 h 5844438"/>
              <a:gd name="connsiteX3" fmla="*/ 6276 w 4951116"/>
              <a:gd name="connsiteY3" fmla="*/ 5844438 h 5844438"/>
              <a:gd name="connsiteX4" fmla="*/ 724 w 4951116"/>
              <a:gd name="connsiteY4" fmla="*/ 2927 h 5844438"/>
              <a:gd name="connsiteX0" fmla="*/ 724 w 4951116"/>
              <a:gd name="connsiteY0" fmla="*/ 2927 h 5846063"/>
              <a:gd name="connsiteX1" fmla="*/ 4951116 w 4951116"/>
              <a:gd name="connsiteY1" fmla="*/ 0 h 5846063"/>
              <a:gd name="connsiteX2" fmla="*/ 3210074 w 4951116"/>
              <a:gd name="connsiteY2" fmla="*/ 5846063 h 5846063"/>
              <a:gd name="connsiteX3" fmla="*/ 6276 w 4951116"/>
              <a:gd name="connsiteY3" fmla="*/ 5844438 h 5846063"/>
              <a:gd name="connsiteX4" fmla="*/ 724 w 4951116"/>
              <a:gd name="connsiteY4" fmla="*/ 2927 h 5846063"/>
              <a:gd name="connsiteX0" fmla="*/ 724 w 4951116"/>
              <a:gd name="connsiteY0" fmla="*/ 2927 h 5844438"/>
              <a:gd name="connsiteX1" fmla="*/ 4951116 w 4951116"/>
              <a:gd name="connsiteY1" fmla="*/ 0 h 5844438"/>
              <a:gd name="connsiteX2" fmla="*/ 3227088 w 4951116"/>
              <a:gd name="connsiteY2" fmla="*/ 5833747 h 5844438"/>
              <a:gd name="connsiteX3" fmla="*/ 6276 w 4951116"/>
              <a:gd name="connsiteY3" fmla="*/ 5844438 h 5844438"/>
              <a:gd name="connsiteX4" fmla="*/ 724 w 4951116"/>
              <a:gd name="connsiteY4" fmla="*/ 2927 h 5844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1116" h="5844438">
                <a:moveTo>
                  <a:pt x="724" y="2927"/>
                </a:moveTo>
                <a:lnTo>
                  <a:pt x="4951116" y="0"/>
                </a:lnTo>
                <a:lnTo>
                  <a:pt x="3227088" y="5833747"/>
                </a:lnTo>
                <a:lnTo>
                  <a:pt x="6276" y="5844438"/>
                </a:lnTo>
                <a:cubicBezTo>
                  <a:pt x="10185" y="3901459"/>
                  <a:pt x="-3185" y="1945906"/>
                  <a:pt x="724" y="2927"/>
                </a:cubicBezTo>
                <a:close/>
              </a:path>
            </a:pathLst>
          </a:custGeom>
          <a:solidFill>
            <a:schemeClr val="bg1"/>
          </a:solidFill>
          <a:ln w="136525">
            <a:noFill/>
          </a:ln>
        </p:spPr>
        <p:txBody>
          <a:bodyPr lIns="72000" tIns="72000"/>
          <a:lstStyle>
            <a:lvl1pPr marL="0" indent="0">
              <a:buFontTx/>
              <a:buNone/>
              <a:defRPr>
                <a:latin typeface="+mn-lt"/>
              </a:defRPr>
            </a:lvl1pPr>
          </a:lstStyle>
          <a:p>
            <a:r>
              <a:rPr lang="en-US"/>
              <a:t>Click icon to add picture</a:t>
            </a:r>
            <a:endParaRPr lang="de-DE" dirty="0"/>
          </a:p>
        </p:txBody>
      </p:sp>
      <p:sp>
        <p:nvSpPr>
          <p:cNvPr id="19" name="Inhaltsplatzhalter 2">
            <a:extLst>
              <a:ext uri="{FF2B5EF4-FFF2-40B4-BE49-F238E27FC236}">
                <a16:creationId xmlns:a16="http://schemas.microsoft.com/office/drawing/2014/main" id="{9B78757A-07CB-6F66-5435-BBE9232EC2C2}"/>
              </a:ext>
            </a:extLst>
          </p:cNvPr>
          <p:cNvSpPr>
            <a:spLocks noGrp="1"/>
          </p:cNvSpPr>
          <p:nvPr>
            <p:ph idx="1"/>
          </p:nvPr>
        </p:nvSpPr>
        <p:spPr bwMode="gray">
          <a:xfrm>
            <a:off x="6456675" y="1844675"/>
            <a:ext cx="5040000" cy="3960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0" name="Bildplatzhalter 11">
            <a:extLst>
              <a:ext uri="{FF2B5EF4-FFF2-40B4-BE49-F238E27FC236}">
                <a16:creationId xmlns:a16="http://schemas.microsoft.com/office/drawing/2014/main" id="{DFB38990-7406-3BD7-F4D1-D010BD63B5CB}"/>
              </a:ext>
            </a:extLst>
          </p:cNvPr>
          <p:cNvSpPr>
            <a:spLocks noGrp="1"/>
          </p:cNvSpPr>
          <p:nvPr>
            <p:ph type="pic" sz="quarter" idx="24"/>
          </p:nvPr>
        </p:nvSpPr>
        <p:spPr bwMode="gray">
          <a:xfrm>
            <a:off x="6456675" y="508592"/>
            <a:ext cx="378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5" name="Bildplatzhalter 11">
            <a:extLst>
              <a:ext uri="{FF2B5EF4-FFF2-40B4-BE49-F238E27FC236}">
                <a16:creationId xmlns:a16="http://schemas.microsoft.com/office/drawing/2014/main" id="{D901C521-7FB6-7741-F2D1-DEEF3ADA3D47}"/>
              </a:ext>
            </a:extLst>
          </p:cNvPr>
          <p:cNvSpPr>
            <a:spLocks noGrp="1"/>
          </p:cNvSpPr>
          <p:nvPr>
            <p:ph type="pic" sz="quarter" idx="25"/>
          </p:nvPr>
        </p:nvSpPr>
        <p:spPr bwMode="gray">
          <a:xfrm>
            <a:off x="64566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7" name="Bildplatzhalter 11">
            <a:extLst>
              <a:ext uri="{FF2B5EF4-FFF2-40B4-BE49-F238E27FC236}">
                <a16:creationId xmlns:a16="http://schemas.microsoft.com/office/drawing/2014/main" id="{BE8ED28A-EFE4-149D-3D97-CB51F40047A1}"/>
              </a:ext>
            </a:extLst>
          </p:cNvPr>
          <p:cNvSpPr>
            <a:spLocks noGrp="1"/>
          </p:cNvSpPr>
          <p:nvPr>
            <p:ph type="pic" sz="quarter" idx="26"/>
          </p:nvPr>
        </p:nvSpPr>
        <p:spPr bwMode="gray">
          <a:xfrm>
            <a:off x="73350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8" name="Bildplatzhalter 11">
            <a:extLst>
              <a:ext uri="{FF2B5EF4-FFF2-40B4-BE49-F238E27FC236}">
                <a16:creationId xmlns:a16="http://schemas.microsoft.com/office/drawing/2014/main" id="{7B0196BD-FB39-5FDB-D7D2-7181782BE80E}"/>
              </a:ext>
            </a:extLst>
          </p:cNvPr>
          <p:cNvSpPr>
            <a:spLocks noGrp="1"/>
          </p:cNvSpPr>
          <p:nvPr>
            <p:ph type="pic" sz="quarter" idx="27"/>
          </p:nvPr>
        </p:nvSpPr>
        <p:spPr bwMode="gray">
          <a:xfrm>
            <a:off x="82134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9" name="Bildplatzhalter 11">
            <a:extLst>
              <a:ext uri="{FF2B5EF4-FFF2-40B4-BE49-F238E27FC236}">
                <a16:creationId xmlns:a16="http://schemas.microsoft.com/office/drawing/2014/main" id="{61CBA71D-3614-9B89-12B9-CF72103FA61D}"/>
              </a:ext>
            </a:extLst>
          </p:cNvPr>
          <p:cNvSpPr>
            <a:spLocks noGrp="1"/>
          </p:cNvSpPr>
          <p:nvPr>
            <p:ph type="pic" sz="quarter" idx="28"/>
          </p:nvPr>
        </p:nvSpPr>
        <p:spPr bwMode="gray">
          <a:xfrm>
            <a:off x="90918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0" name="Bildplatzhalter 11">
            <a:extLst>
              <a:ext uri="{FF2B5EF4-FFF2-40B4-BE49-F238E27FC236}">
                <a16:creationId xmlns:a16="http://schemas.microsoft.com/office/drawing/2014/main" id="{0F4EC4B4-4D37-A24A-B7F6-EE4118CBD74C}"/>
              </a:ext>
            </a:extLst>
          </p:cNvPr>
          <p:cNvSpPr>
            <a:spLocks noGrp="1"/>
          </p:cNvSpPr>
          <p:nvPr>
            <p:ph type="pic" sz="quarter" idx="29"/>
          </p:nvPr>
        </p:nvSpPr>
        <p:spPr bwMode="gray">
          <a:xfrm>
            <a:off x="99702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1" name="Bildplatzhalter 11">
            <a:extLst>
              <a:ext uri="{FF2B5EF4-FFF2-40B4-BE49-F238E27FC236}">
                <a16:creationId xmlns:a16="http://schemas.microsoft.com/office/drawing/2014/main" id="{B7E7A835-8AF0-5051-2B0B-9FF4A661976C}"/>
              </a:ext>
            </a:extLst>
          </p:cNvPr>
          <p:cNvSpPr>
            <a:spLocks noGrp="1"/>
          </p:cNvSpPr>
          <p:nvPr>
            <p:ph type="pic" sz="quarter" idx="30"/>
          </p:nvPr>
        </p:nvSpPr>
        <p:spPr bwMode="gray">
          <a:xfrm>
            <a:off x="10848675" y="5939999"/>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6" name="Datumsplatzhalter 15">
            <a:extLst>
              <a:ext uri="{FF2B5EF4-FFF2-40B4-BE49-F238E27FC236}">
                <a16:creationId xmlns:a16="http://schemas.microsoft.com/office/drawing/2014/main" id="{AFCD68AA-480A-BA2C-F058-5B05023406DC}"/>
              </a:ext>
            </a:extLst>
          </p:cNvPr>
          <p:cNvSpPr>
            <a:spLocks noGrp="1"/>
          </p:cNvSpPr>
          <p:nvPr>
            <p:ph type="dt" sz="half" idx="31"/>
          </p:nvPr>
        </p:nvSpPr>
        <p:spPr bwMode="gray"/>
        <p:txBody>
          <a:bodyPr/>
          <a:lstStyle/>
          <a:p>
            <a:fld id="{9E2B9F34-56FA-484F-BF35-683BE469C0E3}" type="datetime1">
              <a:rPr lang="de-DE" smtClean="0"/>
              <a:pPr/>
              <a:t>30.11.2024</a:t>
            </a:fld>
            <a:endParaRPr lang="de-DE" dirty="0"/>
          </a:p>
        </p:txBody>
      </p:sp>
      <p:sp>
        <p:nvSpPr>
          <p:cNvPr id="17" name="Fußzeilenplatzhalter 16">
            <a:extLst>
              <a:ext uri="{FF2B5EF4-FFF2-40B4-BE49-F238E27FC236}">
                <a16:creationId xmlns:a16="http://schemas.microsoft.com/office/drawing/2014/main" id="{902F8698-869C-423C-046E-D25F86E87053}"/>
              </a:ext>
            </a:extLst>
          </p:cNvPr>
          <p:cNvSpPr>
            <a:spLocks noGrp="1"/>
          </p:cNvSpPr>
          <p:nvPr>
            <p:ph type="ftr" sz="quarter" idx="32"/>
          </p:nvPr>
        </p:nvSpPr>
        <p:spPr bwMode="gray"/>
        <p:txBody>
          <a:bodyPr/>
          <a:lstStyle/>
          <a:p>
            <a:r>
              <a:rPr lang="de-DE" dirty="0"/>
              <a:t>Unternehmenspräsentation</a:t>
            </a:r>
          </a:p>
        </p:txBody>
      </p:sp>
      <p:sp>
        <p:nvSpPr>
          <p:cNvPr id="18" name="Foliennummernplatzhalter 17">
            <a:extLst>
              <a:ext uri="{FF2B5EF4-FFF2-40B4-BE49-F238E27FC236}">
                <a16:creationId xmlns:a16="http://schemas.microsoft.com/office/drawing/2014/main" id="{B6718EDD-5947-132D-5075-A45CA87FC3E8}"/>
              </a:ext>
            </a:extLst>
          </p:cNvPr>
          <p:cNvSpPr>
            <a:spLocks noGrp="1"/>
          </p:cNvSpPr>
          <p:nvPr>
            <p:ph type="sldNum" sz="quarter" idx="33"/>
          </p:nvPr>
        </p:nvSpPr>
        <p:spPr bwMode="gray"/>
        <p:txBody>
          <a:bodyPr/>
          <a:lstStyle/>
          <a:p>
            <a:fld id="{1A2CFED3-8F6A-4617-95E5-25D21BE72BEB}" type="slidenum">
              <a:rPr lang="de-DE" smtClean="0"/>
              <a:pPr/>
              <a:t>‹#›</a:t>
            </a:fld>
            <a:endParaRPr lang="de-DE" dirty="0"/>
          </a:p>
        </p:txBody>
      </p:sp>
    </p:spTree>
    <p:extLst>
      <p:ext uri="{BB962C8B-B14F-4D97-AF65-F5344CB8AC3E}">
        <p14:creationId xmlns:p14="http://schemas.microsoft.com/office/powerpoint/2010/main" val="4258170206"/>
      </p:ext>
    </p:extLst>
  </p:cSld>
  <p:clrMapOvr>
    <a:masterClrMapping/>
  </p:clrMapOvr>
  <p:hf hdr="0" dt="0"/>
  <p:extLst>
    <p:ext uri="{DCECCB84-F9BA-43D5-87BE-67443E8EF086}">
      <p15:sldGuideLst xmlns:p15="http://schemas.microsoft.com/office/powerpoint/2012/main">
        <p15:guide id="1" pos="3840">
          <p15:clr>
            <a:srgbClr val="FBAE40"/>
          </p15:clr>
        </p15:guide>
        <p15:guide id="2" orient="horz" pos="1162"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schräg rechts / Logo farbig">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DEE065EB-D3B2-9448-8048-B49E1C1E73CF}"/>
              </a:ext>
            </a:extLst>
          </p:cNvPr>
          <p:cNvSpPr>
            <a:spLocks noGrp="1"/>
          </p:cNvSpPr>
          <p:nvPr>
            <p:ph type="pic" sz="quarter" idx="22"/>
          </p:nvPr>
        </p:nvSpPr>
        <p:spPr bwMode="gray">
          <a:xfrm>
            <a:off x="5604000" y="0"/>
            <a:ext cx="6588000" cy="6858000"/>
          </a:xfrm>
          <a:custGeom>
            <a:avLst/>
            <a:gdLst>
              <a:gd name="connsiteX0" fmla="*/ 0 w 6372000"/>
              <a:gd name="connsiteY0" fmla="*/ 0 h 6889337"/>
              <a:gd name="connsiteX1" fmla="*/ 6372000 w 6372000"/>
              <a:gd name="connsiteY1" fmla="*/ 0 h 6889337"/>
              <a:gd name="connsiteX2" fmla="*/ 6372000 w 6372000"/>
              <a:gd name="connsiteY2" fmla="*/ 6889337 h 6889337"/>
              <a:gd name="connsiteX3" fmla="*/ 0 w 6372000"/>
              <a:gd name="connsiteY3" fmla="*/ 6889337 h 6889337"/>
              <a:gd name="connsiteX4" fmla="*/ 0 w 6372000"/>
              <a:gd name="connsiteY4" fmla="*/ 0 h 6889337"/>
              <a:gd name="connsiteX0" fmla="*/ 0 w 6372000"/>
              <a:gd name="connsiteY0" fmla="*/ 0 h 6889337"/>
              <a:gd name="connsiteX1" fmla="*/ 5870350 w 6372000"/>
              <a:gd name="connsiteY1" fmla="*/ 19050 h 6889337"/>
              <a:gd name="connsiteX2" fmla="*/ 6372000 w 6372000"/>
              <a:gd name="connsiteY2" fmla="*/ 6889337 h 6889337"/>
              <a:gd name="connsiteX3" fmla="*/ 0 w 6372000"/>
              <a:gd name="connsiteY3" fmla="*/ 6889337 h 6889337"/>
              <a:gd name="connsiteX4" fmla="*/ 0 w 6372000"/>
              <a:gd name="connsiteY4" fmla="*/ 0 h 6889337"/>
              <a:gd name="connsiteX0" fmla="*/ 0 w 5870350"/>
              <a:gd name="connsiteY0" fmla="*/ 0 h 6889337"/>
              <a:gd name="connsiteX1" fmla="*/ 5870350 w 5870350"/>
              <a:gd name="connsiteY1" fmla="*/ 19050 h 6889337"/>
              <a:gd name="connsiteX2" fmla="*/ 5838600 w 5870350"/>
              <a:gd name="connsiteY2" fmla="*/ 6851237 h 6889337"/>
              <a:gd name="connsiteX3" fmla="*/ 0 w 5870350"/>
              <a:gd name="connsiteY3" fmla="*/ 6889337 h 6889337"/>
              <a:gd name="connsiteX4" fmla="*/ 0 w 5870350"/>
              <a:gd name="connsiteY4" fmla="*/ 0 h 6889337"/>
              <a:gd name="connsiteX0" fmla="*/ 0 w 5870350"/>
              <a:gd name="connsiteY0" fmla="*/ 0 h 6889337"/>
              <a:gd name="connsiteX1" fmla="*/ 5870350 w 5870350"/>
              <a:gd name="connsiteY1" fmla="*/ 19050 h 6889337"/>
              <a:gd name="connsiteX2" fmla="*/ 5819550 w 5870350"/>
              <a:gd name="connsiteY2" fmla="*/ 6851237 h 6889337"/>
              <a:gd name="connsiteX3" fmla="*/ 0 w 5870350"/>
              <a:gd name="connsiteY3" fmla="*/ 6889337 h 6889337"/>
              <a:gd name="connsiteX4" fmla="*/ 0 w 5870350"/>
              <a:gd name="connsiteY4" fmla="*/ 0 h 6889337"/>
              <a:gd name="connsiteX0" fmla="*/ 0 w 5870350"/>
              <a:gd name="connsiteY0" fmla="*/ 0 h 6889337"/>
              <a:gd name="connsiteX1" fmla="*/ 5870350 w 5870350"/>
              <a:gd name="connsiteY1" fmla="*/ 19050 h 6889337"/>
              <a:gd name="connsiteX2" fmla="*/ 5819550 w 5870350"/>
              <a:gd name="connsiteY2" fmla="*/ 6870287 h 6889337"/>
              <a:gd name="connsiteX3" fmla="*/ 0 w 5870350"/>
              <a:gd name="connsiteY3" fmla="*/ 6889337 h 6889337"/>
              <a:gd name="connsiteX4" fmla="*/ 0 w 5870350"/>
              <a:gd name="connsiteY4" fmla="*/ 0 h 6889337"/>
              <a:gd name="connsiteX0" fmla="*/ 0 w 5851300"/>
              <a:gd name="connsiteY0" fmla="*/ 0 h 6889337"/>
              <a:gd name="connsiteX1" fmla="*/ 5851300 w 5851300"/>
              <a:gd name="connsiteY1" fmla="*/ 25400 h 6889337"/>
              <a:gd name="connsiteX2" fmla="*/ 5819550 w 5851300"/>
              <a:gd name="connsiteY2" fmla="*/ 6870287 h 6889337"/>
              <a:gd name="connsiteX3" fmla="*/ 0 w 5851300"/>
              <a:gd name="connsiteY3" fmla="*/ 6889337 h 6889337"/>
              <a:gd name="connsiteX4" fmla="*/ 0 w 5851300"/>
              <a:gd name="connsiteY4" fmla="*/ 0 h 6889337"/>
              <a:gd name="connsiteX0" fmla="*/ 2203450 w 8054750"/>
              <a:gd name="connsiteY0" fmla="*/ 0 h 6889337"/>
              <a:gd name="connsiteX1" fmla="*/ 8054750 w 8054750"/>
              <a:gd name="connsiteY1" fmla="*/ 25400 h 6889337"/>
              <a:gd name="connsiteX2" fmla="*/ 8023000 w 8054750"/>
              <a:gd name="connsiteY2" fmla="*/ 6870287 h 6889337"/>
              <a:gd name="connsiteX3" fmla="*/ 0 w 8054750"/>
              <a:gd name="connsiteY3" fmla="*/ 6889337 h 6889337"/>
              <a:gd name="connsiteX4" fmla="*/ 2203450 w 8054750"/>
              <a:gd name="connsiteY4" fmla="*/ 0 h 6889337"/>
              <a:gd name="connsiteX0" fmla="*/ 2203450 w 8023000"/>
              <a:gd name="connsiteY0" fmla="*/ 0 h 6889337"/>
              <a:gd name="connsiteX1" fmla="*/ 6692675 w 8023000"/>
              <a:gd name="connsiteY1" fmla="*/ 15875 h 6889337"/>
              <a:gd name="connsiteX2" fmla="*/ 8023000 w 8023000"/>
              <a:gd name="connsiteY2" fmla="*/ 6870287 h 6889337"/>
              <a:gd name="connsiteX3" fmla="*/ 0 w 8023000"/>
              <a:gd name="connsiteY3" fmla="*/ 6889337 h 6889337"/>
              <a:gd name="connsiteX4" fmla="*/ 2203450 w 8023000"/>
              <a:gd name="connsiteY4" fmla="*/ 0 h 6889337"/>
              <a:gd name="connsiteX0" fmla="*/ 2203450 w 6692675"/>
              <a:gd name="connsiteY0" fmla="*/ 0 h 6889337"/>
              <a:gd name="connsiteX1" fmla="*/ 6692675 w 6692675"/>
              <a:gd name="connsiteY1" fmla="*/ 15875 h 6889337"/>
              <a:gd name="connsiteX2" fmla="*/ 6679975 w 6692675"/>
              <a:gd name="connsiteY2" fmla="*/ 6879812 h 6889337"/>
              <a:gd name="connsiteX3" fmla="*/ 0 w 6692675"/>
              <a:gd name="connsiteY3" fmla="*/ 6889337 h 6889337"/>
              <a:gd name="connsiteX4" fmla="*/ 2203450 w 6692675"/>
              <a:gd name="connsiteY4" fmla="*/ 0 h 6889337"/>
              <a:gd name="connsiteX0" fmla="*/ 2232165 w 6692675"/>
              <a:gd name="connsiteY0" fmla="*/ 0 h 6889337"/>
              <a:gd name="connsiteX1" fmla="*/ 6692675 w 6692675"/>
              <a:gd name="connsiteY1" fmla="*/ 15875 h 6889337"/>
              <a:gd name="connsiteX2" fmla="*/ 6679975 w 6692675"/>
              <a:gd name="connsiteY2" fmla="*/ 6879812 h 6889337"/>
              <a:gd name="connsiteX3" fmla="*/ 0 w 6692675"/>
              <a:gd name="connsiteY3" fmla="*/ 6889337 h 6889337"/>
              <a:gd name="connsiteX4" fmla="*/ 2232165 w 6692675"/>
              <a:gd name="connsiteY4" fmla="*/ 0 h 6889337"/>
              <a:gd name="connsiteX0" fmla="*/ 2232165 w 6692675"/>
              <a:gd name="connsiteY0" fmla="*/ 0 h 6879812"/>
              <a:gd name="connsiteX1" fmla="*/ 6692675 w 6692675"/>
              <a:gd name="connsiteY1" fmla="*/ 6350 h 6879812"/>
              <a:gd name="connsiteX2" fmla="*/ 6679975 w 6692675"/>
              <a:gd name="connsiteY2" fmla="*/ 6870287 h 6879812"/>
              <a:gd name="connsiteX3" fmla="*/ 0 w 6692675"/>
              <a:gd name="connsiteY3" fmla="*/ 6879812 h 6879812"/>
              <a:gd name="connsiteX4" fmla="*/ 2232165 w 6692675"/>
              <a:gd name="connsiteY4" fmla="*/ 0 h 6879812"/>
              <a:gd name="connsiteX0" fmla="*/ 2232165 w 6692675"/>
              <a:gd name="connsiteY0" fmla="*/ 0 h 6879812"/>
              <a:gd name="connsiteX1" fmla="*/ 6692675 w 6692675"/>
              <a:gd name="connsiteY1" fmla="*/ 6350 h 6879812"/>
              <a:gd name="connsiteX2" fmla="*/ 6679975 w 6692675"/>
              <a:gd name="connsiteY2" fmla="*/ 6870287 h 6879812"/>
              <a:gd name="connsiteX3" fmla="*/ 0 w 6692675"/>
              <a:gd name="connsiteY3" fmla="*/ 6879812 h 6879812"/>
              <a:gd name="connsiteX4" fmla="*/ 2232165 w 6692675"/>
              <a:gd name="connsiteY4" fmla="*/ 0 h 6879812"/>
              <a:gd name="connsiteX0" fmla="*/ 2227380 w 6692675"/>
              <a:gd name="connsiteY0" fmla="*/ 3175 h 6873462"/>
              <a:gd name="connsiteX1" fmla="*/ 6692675 w 6692675"/>
              <a:gd name="connsiteY1" fmla="*/ 0 h 6873462"/>
              <a:gd name="connsiteX2" fmla="*/ 6679975 w 6692675"/>
              <a:gd name="connsiteY2" fmla="*/ 6863937 h 6873462"/>
              <a:gd name="connsiteX3" fmla="*/ 0 w 6692675"/>
              <a:gd name="connsiteY3" fmla="*/ 6873462 h 6873462"/>
              <a:gd name="connsiteX4" fmla="*/ 2227380 w 6692675"/>
              <a:gd name="connsiteY4" fmla="*/ 3175 h 6873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2675" h="6873462">
                <a:moveTo>
                  <a:pt x="2227380" y="3175"/>
                </a:moveTo>
                <a:lnTo>
                  <a:pt x="6692675" y="0"/>
                </a:lnTo>
                <a:cubicBezTo>
                  <a:pt x="6688442" y="2287979"/>
                  <a:pt x="6684208" y="4575958"/>
                  <a:pt x="6679975" y="6863937"/>
                </a:cubicBezTo>
                <a:lnTo>
                  <a:pt x="0" y="6873462"/>
                </a:lnTo>
                <a:lnTo>
                  <a:pt x="2227380" y="3175"/>
                </a:lnTo>
                <a:close/>
              </a:path>
            </a:pathLst>
          </a:custGeom>
          <a:solidFill>
            <a:schemeClr val="bg1">
              <a:lumMod val="95000"/>
            </a:schemeClr>
          </a:solidFill>
          <a:ln w="136525">
            <a:noFill/>
          </a:ln>
        </p:spPr>
        <p:txBody>
          <a:bodyPr tIns="72000" rIns="72000"/>
          <a:lstStyle>
            <a:lvl1pPr marL="0" indent="0" algn="r">
              <a:buFontTx/>
              <a:buNone/>
              <a:defRPr>
                <a:latin typeface="+mn-lt"/>
              </a:defRPr>
            </a:lvl1pPr>
          </a:lstStyle>
          <a:p>
            <a:r>
              <a:rPr lang="en-US"/>
              <a:t>Click icon to add picture</a:t>
            </a:r>
            <a:endParaRPr lang="de-DE" dirty="0"/>
          </a:p>
        </p:txBody>
      </p:sp>
      <p:sp>
        <p:nvSpPr>
          <p:cNvPr id="22" name="Bildplatzhalter 11">
            <a:extLst>
              <a:ext uri="{FF2B5EF4-FFF2-40B4-BE49-F238E27FC236}">
                <a16:creationId xmlns:a16="http://schemas.microsoft.com/office/drawing/2014/main" id="{B373FA6F-0045-E54C-9176-BAFF8C4E293A}"/>
              </a:ext>
            </a:extLst>
          </p:cNvPr>
          <p:cNvSpPr>
            <a:spLocks noGrp="1"/>
          </p:cNvSpPr>
          <p:nvPr>
            <p:ph type="pic" sz="quarter" idx="23"/>
          </p:nvPr>
        </p:nvSpPr>
        <p:spPr bwMode="gray">
          <a:xfrm>
            <a:off x="695325" y="508592"/>
            <a:ext cx="504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1" name="Bildplatzhalter 11">
            <a:extLst>
              <a:ext uri="{FF2B5EF4-FFF2-40B4-BE49-F238E27FC236}">
                <a16:creationId xmlns:a16="http://schemas.microsoft.com/office/drawing/2014/main" id="{6714D723-1920-DC72-D6C7-2B8D18749E73}"/>
              </a:ext>
            </a:extLst>
          </p:cNvPr>
          <p:cNvSpPr>
            <a:spLocks noGrp="1"/>
          </p:cNvSpPr>
          <p:nvPr>
            <p:ph type="pic" sz="quarter" idx="25"/>
          </p:nvPr>
        </p:nvSpPr>
        <p:spPr bwMode="gray">
          <a:xfrm>
            <a:off x="695325"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3" name="Bildplatzhalter 11">
            <a:extLst>
              <a:ext uri="{FF2B5EF4-FFF2-40B4-BE49-F238E27FC236}">
                <a16:creationId xmlns:a16="http://schemas.microsoft.com/office/drawing/2014/main" id="{DA3EB8F5-AFAD-38EE-663F-F4483A175F2A}"/>
              </a:ext>
            </a:extLst>
          </p:cNvPr>
          <p:cNvSpPr>
            <a:spLocks noGrp="1"/>
          </p:cNvSpPr>
          <p:nvPr>
            <p:ph type="pic" sz="quarter" idx="26"/>
          </p:nvPr>
        </p:nvSpPr>
        <p:spPr bwMode="gray">
          <a:xfrm>
            <a:off x="1535224"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4" name="Bildplatzhalter 11">
            <a:extLst>
              <a:ext uri="{FF2B5EF4-FFF2-40B4-BE49-F238E27FC236}">
                <a16:creationId xmlns:a16="http://schemas.microsoft.com/office/drawing/2014/main" id="{4F330549-5C39-3325-F5E5-7DED9FB6F907}"/>
              </a:ext>
            </a:extLst>
          </p:cNvPr>
          <p:cNvSpPr>
            <a:spLocks noGrp="1"/>
          </p:cNvSpPr>
          <p:nvPr>
            <p:ph type="pic" sz="quarter" idx="27"/>
          </p:nvPr>
        </p:nvSpPr>
        <p:spPr bwMode="gray">
          <a:xfrm>
            <a:off x="2375123"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5" name="Bildplatzhalter 11">
            <a:extLst>
              <a:ext uri="{FF2B5EF4-FFF2-40B4-BE49-F238E27FC236}">
                <a16:creationId xmlns:a16="http://schemas.microsoft.com/office/drawing/2014/main" id="{FE547329-FEE6-F9A4-B439-68FAEC927817}"/>
              </a:ext>
            </a:extLst>
          </p:cNvPr>
          <p:cNvSpPr>
            <a:spLocks noGrp="1"/>
          </p:cNvSpPr>
          <p:nvPr>
            <p:ph type="pic" sz="quarter" idx="28"/>
          </p:nvPr>
        </p:nvSpPr>
        <p:spPr bwMode="gray">
          <a:xfrm>
            <a:off x="3215022"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6" name="Bildplatzhalter 11">
            <a:extLst>
              <a:ext uri="{FF2B5EF4-FFF2-40B4-BE49-F238E27FC236}">
                <a16:creationId xmlns:a16="http://schemas.microsoft.com/office/drawing/2014/main" id="{3FE8FE4C-1E0E-9FC0-3B58-95844B74879A}"/>
              </a:ext>
            </a:extLst>
          </p:cNvPr>
          <p:cNvSpPr>
            <a:spLocks noGrp="1"/>
          </p:cNvSpPr>
          <p:nvPr>
            <p:ph type="pic" sz="quarter" idx="29"/>
          </p:nvPr>
        </p:nvSpPr>
        <p:spPr bwMode="gray">
          <a:xfrm>
            <a:off x="4054921"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7" name="Bildplatzhalter 11">
            <a:extLst>
              <a:ext uri="{FF2B5EF4-FFF2-40B4-BE49-F238E27FC236}">
                <a16:creationId xmlns:a16="http://schemas.microsoft.com/office/drawing/2014/main" id="{9C98B1E4-4939-0D12-D694-01CD39DB15B3}"/>
              </a:ext>
            </a:extLst>
          </p:cNvPr>
          <p:cNvSpPr>
            <a:spLocks noGrp="1"/>
          </p:cNvSpPr>
          <p:nvPr>
            <p:ph type="pic" sz="quarter" idx="30"/>
          </p:nvPr>
        </p:nvSpPr>
        <p:spPr bwMode="gray">
          <a:xfrm>
            <a:off x="4861769"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9" name="Inhaltsplatzhalter 2">
            <a:extLst>
              <a:ext uri="{FF2B5EF4-FFF2-40B4-BE49-F238E27FC236}">
                <a16:creationId xmlns:a16="http://schemas.microsoft.com/office/drawing/2014/main" id="{B07F18AC-7744-A4E8-94C9-F9C9DE05D164}"/>
              </a:ext>
            </a:extLst>
          </p:cNvPr>
          <p:cNvSpPr>
            <a:spLocks noGrp="1"/>
          </p:cNvSpPr>
          <p:nvPr>
            <p:ph idx="1"/>
          </p:nvPr>
        </p:nvSpPr>
        <p:spPr bwMode="gray">
          <a:xfrm>
            <a:off x="695325" y="1844675"/>
            <a:ext cx="5040000" cy="3960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Parallelogramm 4">
            <a:extLst>
              <a:ext uri="{FF2B5EF4-FFF2-40B4-BE49-F238E27FC236}">
                <a16:creationId xmlns:a16="http://schemas.microsoft.com/office/drawing/2014/main" id="{BCB31CE8-D1B5-9C1A-58C7-1059C79BC69F}"/>
              </a:ext>
            </a:extLst>
          </p:cNvPr>
          <p:cNvSpPr/>
          <p:nvPr userDrawn="1"/>
        </p:nvSpPr>
        <p:spPr bwMode="gray">
          <a:xfrm>
            <a:off x="5529600" y="0"/>
            <a:ext cx="2275200" cy="6858000"/>
          </a:xfrm>
          <a:prstGeom prst="parallelogram">
            <a:avLst>
              <a:gd name="adj" fmla="val 9672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8" name="Datumsplatzhalter 17">
            <a:extLst>
              <a:ext uri="{FF2B5EF4-FFF2-40B4-BE49-F238E27FC236}">
                <a16:creationId xmlns:a16="http://schemas.microsoft.com/office/drawing/2014/main" id="{7BB977EE-B9B1-7CBB-D317-4307B2A95A18}"/>
              </a:ext>
            </a:extLst>
          </p:cNvPr>
          <p:cNvSpPr>
            <a:spLocks noGrp="1"/>
          </p:cNvSpPr>
          <p:nvPr>
            <p:ph type="dt" sz="half" idx="31"/>
          </p:nvPr>
        </p:nvSpPr>
        <p:spPr bwMode="gray">
          <a:xfrm>
            <a:off x="695325" y="6498000"/>
            <a:ext cx="2743200" cy="180000"/>
          </a:xfrm>
        </p:spPr>
        <p:txBody>
          <a:bodyPr/>
          <a:lstStyle/>
          <a:p>
            <a:fld id="{E9525A29-23CD-4F52-8377-5C589D121A9D}" type="datetime1">
              <a:rPr lang="de-DE" smtClean="0"/>
              <a:t>30.11.2024</a:t>
            </a:fld>
            <a:endParaRPr lang="de-DE" dirty="0"/>
          </a:p>
        </p:txBody>
      </p:sp>
      <p:sp>
        <p:nvSpPr>
          <p:cNvPr id="20" name="Fußzeilenplatzhalter 19">
            <a:extLst>
              <a:ext uri="{FF2B5EF4-FFF2-40B4-BE49-F238E27FC236}">
                <a16:creationId xmlns:a16="http://schemas.microsoft.com/office/drawing/2014/main" id="{CEF97FD6-05E7-60D3-E05C-B5227494FF5C}"/>
              </a:ext>
            </a:extLst>
          </p:cNvPr>
          <p:cNvSpPr>
            <a:spLocks noGrp="1"/>
          </p:cNvSpPr>
          <p:nvPr>
            <p:ph type="ftr" sz="quarter" idx="32"/>
          </p:nvPr>
        </p:nvSpPr>
        <p:spPr bwMode="gray"/>
        <p:txBody>
          <a:bodyPr/>
          <a:lstStyle/>
          <a:p>
            <a:r>
              <a:rPr lang="de-DE" dirty="0"/>
              <a:t>Unternehmenspräsentation</a:t>
            </a:r>
          </a:p>
        </p:txBody>
      </p:sp>
      <p:sp>
        <p:nvSpPr>
          <p:cNvPr id="21" name="Foliennummernplatzhalter 20">
            <a:extLst>
              <a:ext uri="{FF2B5EF4-FFF2-40B4-BE49-F238E27FC236}">
                <a16:creationId xmlns:a16="http://schemas.microsoft.com/office/drawing/2014/main" id="{01C51582-E549-5504-DC73-77F5009C9590}"/>
              </a:ext>
            </a:extLst>
          </p:cNvPr>
          <p:cNvSpPr>
            <a:spLocks noGrp="1"/>
          </p:cNvSpPr>
          <p:nvPr>
            <p:ph type="sldNum" sz="quarter" idx="33"/>
          </p:nvPr>
        </p:nvSpPr>
        <p:spPr bwMode="gray"/>
        <p:txBody>
          <a:bodyPr/>
          <a:lstStyle/>
          <a:p>
            <a:fld id="{1A2CFED3-8F6A-4617-95E5-25D21BE72BEB}" type="slidenum">
              <a:rPr lang="de-DE" smtClean="0"/>
              <a:pPr/>
              <a:t>‹#›</a:t>
            </a:fld>
            <a:endParaRPr lang="de-DE" dirty="0"/>
          </a:p>
        </p:txBody>
      </p:sp>
      <p:sp>
        <p:nvSpPr>
          <p:cNvPr id="2" name="Textplatzhalter 5">
            <a:extLst>
              <a:ext uri="{FF2B5EF4-FFF2-40B4-BE49-F238E27FC236}">
                <a16:creationId xmlns:a16="http://schemas.microsoft.com/office/drawing/2014/main" id="{0AD9E404-B460-269C-6C38-7D79FB72A9AE}"/>
              </a:ext>
            </a:extLst>
          </p:cNvPr>
          <p:cNvSpPr>
            <a:spLocks noGrp="1"/>
          </p:cNvSpPr>
          <p:nvPr>
            <p:ph type="body" sz="quarter" idx="34" hasCustomPrompt="1"/>
          </p:nvPr>
        </p:nvSpPr>
        <p:spPr bwMode="black">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2356044008"/>
      </p:ext>
    </p:extLst>
  </p:cSld>
  <p:clrMapOvr>
    <a:masterClrMapping/>
  </p:clrMapOvr>
  <p:hf sldNum="0" hdr="0" ftr="0"/>
  <p:extLst>
    <p:ext uri="{DCECCB84-F9BA-43D5-87BE-67443E8EF086}">
      <p15:sldGuideLst xmlns:p15="http://schemas.microsoft.com/office/powerpoint/2012/main">
        <p15:guide id="1" pos="4067">
          <p15:clr>
            <a:srgbClr val="FBAE40"/>
          </p15:clr>
        </p15:guide>
        <p15:guide id="2" orient="horz" pos="116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4">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4" name="Untertitel 2">
            <a:extLst>
              <a:ext uri="{FF2B5EF4-FFF2-40B4-BE49-F238E27FC236}">
                <a16:creationId xmlns:a16="http://schemas.microsoft.com/office/drawing/2014/main" id="{BE987C8D-600E-9043-3AFA-296CBCCE53E0}"/>
              </a:ext>
            </a:extLst>
          </p:cNvPr>
          <p:cNvSpPr>
            <a:spLocks noGrp="1"/>
          </p:cNvSpPr>
          <p:nvPr>
            <p:ph type="subTitle" idx="1" hasCustomPrompt="1"/>
          </p:nvPr>
        </p:nvSpPr>
        <p:spPr bwMode="black">
          <a:xfrm>
            <a:off x="695325" y="5240858"/>
            <a:ext cx="6984851" cy="360000"/>
          </a:xfrm>
        </p:spPr>
        <p:txBody>
          <a:bodyPr/>
          <a:lstStyle>
            <a:lvl1pPr marL="0" indent="0" algn="l">
              <a:spcBef>
                <a:spcPts val="0"/>
              </a:spcBef>
              <a:spcAft>
                <a:spcPts val="0"/>
              </a:spcAft>
              <a:buNone/>
              <a:defRPr sz="2400" cap="none" baseline="0">
                <a:solidFill>
                  <a:srgbClr val="2DFA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Software Engineering  |  Digitale Transformation</a:t>
            </a:r>
          </a:p>
        </p:txBody>
      </p:sp>
      <p:sp>
        <p:nvSpPr>
          <p:cNvPr id="5" name="Textplatzhalter 2">
            <a:extLst>
              <a:ext uri="{FF2B5EF4-FFF2-40B4-BE49-F238E27FC236}">
                <a16:creationId xmlns:a16="http://schemas.microsoft.com/office/drawing/2014/main" id="{DD1E4018-114F-0DDB-12BD-4B79C44BA158}"/>
              </a:ext>
            </a:extLst>
          </p:cNvPr>
          <p:cNvSpPr>
            <a:spLocks noGrp="1"/>
          </p:cNvSpPr>
          <p:nvPr>
            <p:ph type="body" idx="13"/>
          </p:nvPr>
        </p:nvSpPr>
        <p:spPr bwMode="black">
          <a:xfrm>
            <a:off x="720000" y="5759999"/>
            <a:ext cx="6455324" cy="205983"/>
          </a:xfrm>
        </p:spPr>
        <p:txBody>
          <a:bodyPr anchor="t"/>
          <a:lstStyle>
            <a:lvl1pPr marL="0" indent="0">
              <a:spcBef>
                <a:spcPts val="0"/>
              </a:spcBef>
              <a:spcAft>
                <a:spcPts val="0"/>
              </a:spcAft>
              <a:buNone/>
              <a:defRPr sz="1400" b="0" cap="none" spc="12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695325" y="548680"/>
            <a:ext cx="912923" cy="210675"/>
          </a:xfrm>
          <a:prstGeom prst="rect">
            <a:avLst/>
          </a:prstGeom>
        </p:spPr>
      </p:pic>
      <p:pic>
        <p:nvPicPr>
          <p:cNvPr id="2" name="Grafik 1">
            <a:extLst>
              <a:ext uri="{FF2B5EF4-FFF2-40B4-BE49-F238E27FC236}">
                <a16:creationId xmlns:a16="http://schemas.microsoft.com/office/drawing/2014/main" id="{E0E49A87-837C-75B2-0132-7945D8E3723F}"/>
              </a:ext>
            </a:extLst>
          </p:cNvPr>
          <p:cNvPicPr>
            <a:picLocks noChangeAspect="1"/>
          </p:cNvPicPr>
          <p:nvPr userDrawn="1"/>
        </p:nvPicPr>
        <p:blipFill rotWithShape="1">
          <a:blip r:embed="rId3"/>
          <a:srcRect t="12440" r="24905"/>
          <a:stretch/>
        </p:blipFill>
        <p:spPr>
          <a:xfrm>
            <a:off x="9512076" y="0"/>
            <a:ext cx="2679924" cy="2079468"/>
          </a:xfrm>
          <a:prstGeom prst="rect">
            <a:avLst/>
          </a:prstGeom>
        </p:spPr>
      </p:pic>
      <p:pic>
        <p:nvPicPr>
          <p:cNvPr id="8" name="Grafik 7">
            <a:extLst>
              <a:ext uri="{FF2B5EF4-FFF2-40B4-BE49-F238E27FC236}">
                <a16:creationId xmlns:a16="http://schemas.microsoft.com/office/drawing/2014/main" id="{5F3A29E0-2C84-CC63-B1C8-DBAC9424F55B}"/>
              </a:ext>
            </a:extLst>
          </p:cNvPr>
          <p:cNvPicPr>
            <a:picLocks noChangeAspect="1"/>
          </p:cNvPicPr>
          <p:nvPr userDrawn="1"/>
        </p:nvPicPr>
        <p:blipFill>
          <a:blip r:embed="rId3"/>
          <a:stretch>
            <a:fillRect/>
          </a:stretch>
        </p:blipFill>
        <p:spPr>
          <a:xfrm>
            <a:off x="9264352" y="2986713"/>
            <a:ext cx="2542524" cy="1692000"/>
          </a:xfrm>
          <a:prstGeom prst="rect">
            <a:avLst/>
          </a:prstGeom>
        </p:spPr>
      </p:pic>
      <p:pic>
        <p:nvPicPr>
          <p:cNvPr id="9" name="Grafik 8">
            <a:extLst>
              <a:ext uri="{FF2B5EF4-FFF2-40B4-BE49-F238E27FC236}">
                <a16:creationId xmlns:a16="http://schemas.microsoft.com/office/drawing/2014/main" id="{B026C44E-6EF3-A1BB-D9C9-B4DEC6DC9BC8}"/>
              </a:ext>
            </a:extLst>
          </p:cNvPr>
          <p:cNvPicPr>
            <a:picLocks noChangeAspect="1"/>
          </p:cNvPicPr>
          <p:nvPr userDrawn="1"/>
        </p:nvPicPr>
        <p:blipFill>
          <a:blip r:embed="rId3"/>
          <a:stretch>
            <a:fillRect/>
          </a:stretch>
        </p:blipFill>
        <p:spPr>
          <a:xfrm>
            <a:off x="7480002" y="1257142"/>
            <a:ext cx="3568700" cy="2374900"/>
          </a:xfrm>
          <a:prstGeom prst="rect">
            <a:avLst/>
          </a:prstGeom>
        </p:spPr>
      </p:pic>
    </p:spTree>
    <p:extLst>
      <p:ext uri="{BB962C8B-B14F-4D97-AF65-F5344CB8AC3E}">
        <p14:creationId xmlns:p14="http://schemas.microsoft.com/office/powerpoint/2010/main" val="909657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schräg rechts / Logo weiss">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DEE065EB-D3B2-9448-8048-B49E1C1E73CF}"/>
              </a:ext>
            </a:extLst>
          </p:cNvPr>
          <p:cNvSpPr>
            <a:spLocks noGrp="1"/>
          </p:cNvSpPr>
          <p:nvPr>
            <p:ph type="pic" sz="quarter" idx="22"/>
          </p:nvPr>
        </p:nvSpPr>
        <p:spPr bwMode="gray">
          <a:xfrm>
            <a:off x="5604000" y="0"/>
            <a:ext cx="6588000" cy="6858000"/>
          </a:xfrm>
          <a:custGeom>
            <a:avLst/>
            <a:gdLst>
              <a:gd name="connsiteX0" fmla="*/ 0 w 6372000"/>
              <a:gd name="connsiteY0" fmla="*/ 0 h 6889337"/>
              <a:gd name="connsiteX1" fmla="*/ 6372000 w 6372000"/>
              <a:gd name="connsiteY1" fmla="*/ 0 h 6889337"/>
              <a:gd name="connsiteX2" fmla="*/ 6372000 w 6372000"/>
              <a:gd name="connsiteY2" fmla="*/ 6889337 h 6889337"/>
              <a:gd name="connsiteX3" fmla="*/ 0 w 6372000"/>
              <a:gd name="connsiteY3" fmla="*/ 6889337 h 6889337"/>
              <a:gd name="connsiteX4" fmla="*/ 0 w 6372000"/>
              <a:gd name="connsiteY4" fmla="*/ 0 h 6889337"/>
              <a:gd name="connsiteX0" fmla="*/ 0 w 6372000"/>
              <a:gd name="connsiteY0" fmla="*/ 0 h 6889337"/>
              <a:gd name="connsiteX1" fmla="*/ 5870350 w 6372000"/>
              <a:gd name="connsiteY1" fmla="*/ 19050 h 6889337"/>
              <a:gd name="connsiteX2" fmla="*/ 6372000 w 6372000"/>
              <a:gd name="connsiteY2" fmla="*/ 6889337 h 6889337"/>
              <a:gd name="connsiteX3" fmla="*/ 0 w 6372000"/>
              <a:gd name="connsiteY3" fmla="*/ 6889337 h 6889337"/>
              <a:gd name="connsiteX4" fmla="*/ 0 w 6372000"/>
              <a:gd name="connsiteY4" fmla="*/ 0 h 6889337"/>
              <a:gd name="connsiteX0" fmla="*/ 0 w 5870350"/>
              <a:gd name="connsiteY0" fmla="*/ 0 h 6889337"/>
              <a:gd name="connsiteX1" fmla="*/ 5870350 w 5870350"/>
              <a:gd name="connsiteY1" fmla="*/ 19050 h 6889337"/>
              <a:gd name="connsiteX2" fmla="*/ 5838600 w 5870350"/>
              <a:gd name="connsiteY2" fmla="*/ 6851237 h 6889337"/>
              <a:gd name="connsiteX3" fmla="*/ 0 w 5870350"/>
              <a:gd name="connsiteY3" fmla="*/ 6889337 h 6889337"/>
              <a:gd name="connsiteX4" fmla="*/ 0 w 5870350"/>
              <a:gd name="connsiteY4" fmla="*/ 0 h 6889337"/>
              <a:gd name="connsiteX0" fmla="*/ 0 w 5870350"/>
              <a:gd name="connsiteY0" fmla="*/ 0 h 6889337"/>
              <a:gd name="connsiteX1" fmla="*/ 5870350 w 5870350"/>
              <a:gd name="connsiteY1" fmla="*/ 19050 h 6889337"/>
              <a:gd name="connsiteX2" fmla="*/ 5819550 w 5870350"/>
              <a:gd name="connsiteY2" fmla="*/ 6851237 h 6889337"/>
              <a:gd name="connsiteX3" fmla="*/ 0 w 5870350"/>
              <a:gd name="connsiteY3" fmla="*/ 6889337 h 6889337"/>
              <a:gd name="connsiteX4" fmla="*/ 0 w 5870350"/>
              <a:gd name="connsiteY4" fmla="*/ 0 h 6889337"/>
              <a:gd name="connsiteX0" fmla="*/ 0 w 5870350"/>
              <a:gd name="connsiteY0" fmla="*/ 0 h 6889337"/>
              <a:gd name="connsiteX1" fmla="*/ 5870350 w 5870350"/>
              <a:gd name="connsiteY1" fmla="*/ 19050 h 6889337"/>
              <a:gd name="connsiteX2" fmla="*/ 5819550 w 5870350"/>
              <a:gd name="connsiteY2" fmla="*/ 6870287 h 6889337"/>
              <a:gd name="connsiteX3" fmla="*/ 0 w 5870350"/>
              <a:gd name="connsiteY3" fmla="*/ 6889337 h 6889337"/>
              <a:gd name="connsiteX4" fmla="*/ 0 w 5870350"/>
              <a:gd name="connsiteY4" fmla="*/ 0 h 6889337"/>
              <a:gd name="connsiteX0" fmla="*/ 0 w 5851300"/>
              <a:gd name="connsiteY0" fmla="*/ 0 h 6889337"/>
              <a:gd name="connsiteX1" fmla="*/ 5851300 w 5851300"/>
              <a:gd name="connsiteY1" fmla="*/ 25400 h 6889337"/>
              <a:gd name="connsiteX2" fmla="*/ 5819550 w 5851300"/>
              <a:gd name="connsiteY2" fmla="*/ 6870287 h 6889337"/>
              <a:gd name="connsiteX3" fmla="*/ 0 w 5851300"/>
              <a:gd name="connsiteY3" fmla="*/ 6889337 h 6889337"/>
              <a:gd name="connsiteX4" fmla="*/ 0 w 5851300"/>
              <a:gd name="connsiteY4" fmla="*/ 0 h 6889337"/>
              <a:gd name="connsiteX0" fmla="*/ 2203450 w 8054750"/>
              <a:gd name="connsiteY0" fmla="*/ 0 h 6889337"/>
              <a:gd name="connsiteX1" fmla="*/ 8054750 w 8054750"/>
              <a:gd name="connsiteY1" fmla="*/ 25400 h 6889337"/>
              <a:gd name="connsiteX2" fmla="*/ 8023000 w 8054750"/>
              <a:gd name="connsiteY2" fmla="*/ 6870287 h 6889337"/>
              <a:gd name="connsiteX3" fmla="*/ 0 w 8054750"/>
              <a:gd name="connsiteY3" fmla="*/ 6889337 h 6889337"/>
              <a:gd name="connsiteX4" fmla="*/ 2203450 w 8054750"/>
              <a:gd name="connsiteY4" fmla="*/ 0 h 6889337"/>
              <a:gd name="connsiteX0" fmla="*/ 2203450 w 8023000"/>
              <a:gd name="connsiteY0" fmla="*/ 0 h 6889337"/>
              <a:gd name="connsiteX1" fmla="*/ 6692675 w 8023000"/>
              <a:gd name="connsiteY1" fmla="*/ 15875 h 6889337"/>
              <a:gd name="connsiteX2" fmla="*/ 8023000 w 8023000"/>
              <a:gd name="connsiteY2" fmla="*/ 6870287 h 6889337"/>
              <a:gd name="connsiteX3" fmla="*/ 0 w 8023000"/>
              <a:gd name="connsiteY3" fmla="*/ 6889337 h 6889337"/>
              <a:gd name="connsiteX4" fmla="*/ 2203450 w 8023000"/>
              <a:gd name="connsiteY4" fmla="*/ 0 h 6889337"/>
              <a:gd name="connsiteX0" fmla="*/ 2203450 w 6692675"/>
              <a:gd name="connsiteY0" fmla="*/ 0 h 6889337"/>
              <a:gd name="connsiteX1" fmla="*/ 6692675 w 6692675"/>
              <a:gd name="connsiteY1" fmla="*/ 15875 h 6889337"/>
              <a:gd name="connsiteX2" fmla="*/ 6679975 w 6692675"/>
              <a:gd name="connsiteY2" fmla="*/ 6879812 h 6889337"/>
              <a:gd name="connsiteX3" fmla="*/ 0 w 6692675"/>
              <a:gd name="connsiteY3" fmla="*/ 6889337 h 6889337"/>
              <a:gd name="connsiteX4" fmla="*/ 2203450 w 6692675"/>
              <a:gd name="connsiteY4" fmla="*/ 0 h 6889337"/>
              <a:gd name="connsiteX0" fmla="*/ 2232165 w 6692675"/>
              <a:gd name="connsiteY0" fmla="*/ 0 h 6889337"/>
              <a:gd name="connsiteX1" fmla="*/ 6692675 w 6692675"/>
              <a:gd name="connsiteY1" fmla="*/ 15875 h 6889337"/>
              <a:gd name="connsiteX2" fmla="*/ 6679975 w 6692675"/>
              <a:gd name="connsiteY2" fmla="*/ 6879812 h 6889337"/>
              <a:gd name="connsiteX3" fmla="*/ 0 w 6692675"/>
              <a:gd name="connsiteY3" fmla="*/ 6889337 h 6889337"/>
              <a:gd name="connsiteX4" fmla="*/ 2232165 w 6692675"/>
              <a:gd name="connsiteY4" fmla="*/ 0 h 6889337"/>
              <a:gd name="connsiteX0" fmla="*/ 2232165 w 6692675"/>
              <a:gd name="connsiteY0" fmla="*/ 0 h 6879812"/>
              <a:gd name="connsiteX1" fmla="*/ 6692675 w 6692675"/>
              <a:gd name="connsiteY1" fmla="*/ 6350 h 6879812"/>
              <a:gd name="connsiteX2" fmla="*/ 6679975 w 6692675"/>
              <a:gd name="connsiteY2" fmla="*/ 6870287 h 6879812"/>
              <a:gd name="connsiteX3" fmla="*/ 0 w 6692675"/>
              <a:gd name="connsiteY3" fmla="*/ 6879812 h 6879812"/>
              <a:gd name="connsiteX4" fmla="*/ 2232165 w 6692675"/>
              <a:gd name="connsiteY4" fmla="*/ 0 h 6879812"/>
              <a:gd name="connsiteX0" fmla="*/ 2232165 w 6692675"/>
              <a:gd name="connsiteY0" fmla="*/ 0 h 6879812"/>
              <a:gd name="connsiteX1" fmla="*/ 6692675 w 6692675"/>
              <a:gd name="connsiteY1" fmla="*/ 6350 h 6879812"/>
              <a:gd name="connsiteX2" fmla="*/ 6679975 w 6692675"/>
              <a:gd name="connsiteY2" fmla="*/ 6870287 h 6879812"/>
              <a:gd name="connsiteX3" fmla="*/ 0 w 6692675"/>
              <a:gd name="connsiteY3" fmla="*/ 6879812 h 6879812"/>
              <a:gd name="connsiteX4" fmla="*/ 2232165 w 6692675"/>
              <a:gd name="connsiteY4" fmla="*/ 0 h 6879812"/>
              <a:gd name="connsiteX0" fmla="*/ 2227380 w 6692675"/>
              <a:gd name="connsiteY0" fmla="*/ 3175 h 6873462"/>
              <a:gd name="connsiteX1" fmla="*/ 6692675 w 6692675"/>
              <a:gd name="connsiteY1" fmla="*/ 0 h 6873462"/>
              <a:gd name="connsiteX2" fmla="*/ 6679975 w 6692675"/>
              <a:gd name="connsiteY2" fmla="*/ 6863937 h 6873462"/>
              <a:gd name="connsiteX3" fmla="*/ 0 w 6692675"/>
              <a:gd name="connsiteY3" fmla="*/ 6873462 h 6873462"/>
              <a:gd name="connsiteX4" fmla="*/ 2227380 w 6692675"/>
              <a:gd name="connsiteY4" fmla="*/ 3175 h 6873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2675" h="6873462">
                <a:moveTo>
                  <a:pt x="2227380" y="3175"/>
                </a:moveTo>
                <a:lnTo>
                  <a:pt x="6692675" y="0"/>
                </a:lnTo>
                <a:cubicBezTo>
                  <a:pt x="6688442" y="2287979"/>
                  <a:pt x="6684208" y="4575958"/>
                  <a:pt x="6679975" y="6863937"/>
                </a:cubicBezTo>
                <a:lnTo>
                  <a:pt x="0" y="6873462"/>
                </a:lnTo>
                <a:lnTo>
                  <a:pt x="2227380" y="3175"/>
                </a:lnTo>
                <a:close/>
              </a:path>
            </a:pathLst>
          </a:custGeom>
          <a:solidFill>
            <a:schemeClr val="bg1">
              <a:lumMod val="95000"/>
            </a:schemeClr>
          </a:solidFill>
          <a:ln w="136525">
            <a:noFill/>
          </a:ln>
        </p:spPr>
        <p:txBody>
          <a:bodyPr tIns="72000" rIns="72000"/>
          <a:lstStyle>
            <a:lvl1pPr marL="0" indent="0" algn="r">
              <a:buFontTx/>
              <a:buNone/>
              <a:defRPr>
                <a:latin typeface="+mn-lt"/>
              </a:defRPr>
            </a:lvl1pPr>
          </a:lstStyle>
          <a:p>
            <a:r>
              <a:rPr lang="en-US"/>
              <a:t>Click icon to add picture</a:t>
            </a:r>
            <a:endParaRPr lang="de-DE" dirty="0"/>
          </a:p>
        </p:txBody>
      </p:sp>
      <p:sp>
        <p:nvSpPr>
          <p:cNvPr id="22" name="Bildplatzhalter 11">
            <a:extLst>
              <a:ext uri="{FF2B5EF4-FFF2-40B4-BE49-F238E27FC236}">
                <a16:creationId xmlns:a16="http://schemas.microsoft.com/office/drawing/2014/main" id="{B373FA6F-0045-E54C-9176-BAFF8C4E293A}"/>
              </a:ext>
            </a:extLst>
          </p:cNvPr>
          <p:cNvSpPr>
            <a:spLocks noGrp="1"/>
          </p:cNvSpPr>
          <p:nvPr>
            <p:ph type="pic" sz="quarter" idx="23"/>
          </p:nvPr>
        </p:nvSpPr>
        <p:spPr bwMode="gray">
          <a:xfrm>
            <a:off x="695325" y="508592"/>
            <a:ext cx="5040000" cy="936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1" name="Bildplatzhalter 11">
            <a:extLst>
              <a:ext uri="{FF2B5EF4-FFF2-40B4-BE49-F238E27FC236}">
                <a16:creationId xmlns:a16="http://schemas.microsoft.com/office/drawing/2014/main" id="{6714D723-1920-DC72-D6C7-2B8D18749E73}"/>
              </a:ext>
            </a:extLst>
          </p:cNvPr>
          <p:cNvSpPr>
            <a:spLocks noGrp="1"/>
          </p:cNvSpPr>
          <p:nvPr>
            <p:ph type="pic" sz="quarter" idx="25"/>
          </p:nvPr>
        </p:nvSpPr>
        <p:spPr bwMode="gray">
          <a:xfrm>
            <a:off x="695325"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3" name="Bildplatzhalter 11">
            <a:extLst>
              <a:ext uri="{FF2B5EF4-FFF2-40B4-BE49-F238E27FC236}">
                <a16:creationId xmlns:a16="http://schemas.microsoft.com/office/drawing/2014/main" id="{DA3EB8F5-AFAD-38EE-663F-F4483A175F2A}"/>
              </a:ext>
            </a:extLst>
          </p:cNvPr>
          <p:cNvSpPr>
            <a:spLocks noGrp="1"/>
          </p:cNvSpPr>
          <p:nvPr>
            <p:ph type="pic" sz="quarter" idx="26"/>
          </p:nvPr>
        </p:nvSpPr>
        <p:spPr bwMode="gray">
          <a:xfrm>
            <a:off x="1535224"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4" name="Bildplatzhalter 11">
            <a:extLst>
              <a:ext uri="{FF2B5EF4-FFF2-40B4-BE49-F238E27FC236}">
                <a16:creationId xmlns:a16="http://schemas.microsoft.com/office/drawing/2014/main" id="{4F330549-5C39-3325-F5E5-7DED9FB6F907}"/>
              </a:ext>
            </a:extLst>
          </p:cNvPr>
          <p:cNvSpPr>
            <a:spLocks noGrp="1"/>
          </p:cNvSpPr>
          <p:nvPr>
            <p:ph type="pic" sz="quarter" idx="27"/>
          </p:nvPr>
        </p:nvSpPr>
        <p:spPr bwMode="gray">
          <a:xfrm>
            <a:off x="2375123"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5" name="Bildplatzhalter 11">
            <a:extLst>
              <a:ext uri="{FF2B5EF4-FFF2-40B4-BE49-F238E27FC236}">
                <a16:creationId xmlns:a16="http://schemas.microsoft.com/office/drawing/2014/main" id="{FE547329-FEE6-F9A4-B439-68FAEC927817}"/>
              </a:ext>
            </a:extLst>
          </p:cNvPr>
          <p:cNvSpPr>
            <a:spLocks noGrp="1"/>
          </p:cNvSpPr>
          <p:nvPr>
            <p:ph type="pic" sz="quarter" idx="28"/>
          </p:nvPr>
        </p:nvSpPr>
        <p:spPr bwMode="gray">
          <a:xfrm>
            <a:off x="3215022"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6" name="Bildplatzhalter 11">
            <a:extLst>
              <a:ext uri="{FF2B5EF4-FFF2-40B4-BE49-F238E27FC236}">
                <a16:creationId xmlns:a16="http://schemas.microsoft.com/office/drawing/2014/main" id="{3FE8FE4C-1E0E-9FC0-3B58-95844B74879A}"/>
              </a:ext>
            </a:extLst>
          </p:cNvPr>
          <p:cNvSpPr>
            <a:spLocks noGrp="1"/>
          </p:cNvSpPr>
          <p:nvPr>
            <p:ph type="pic" sz="quarter" idx="29"/>
          </p:nvPr>
        </p:nvSpPr>
        <p:spPr bwMode="gray">
          <a:xfrm>
            <a:off x="4054921"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7" name="Bildplatzhalter 11">
            <a:extLst>
              <a:ext uri="{FF2B5EF4-FFF2-40B4-BE49-F238E27FC236}">
                <a16:creationId xmlns:a16="http://schemas.microsoft.com/office/drawing/2014/main" id="{9C98B1E4-4939-0D12-D694-01CD39DB15B3}"/>
              </a:ext>
            </a:extLst>
          </p:cNvPr>
          <p:cNvSpPr>
            <a:spLocks noGrp="1"/>
          </p:cNvSpPr>
          <p:nvPr>
            <p:ph type="pic" sz="quarter" idx="30"/>
          </p:nvPr>
        </p:nvSpPr>
        <p:spPr bwMode="gray">
          <a:xfrm>
            <a:off x="4861769" y="5976000"/>
            <a:ext cx="648000" cy="360000"/>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19" name="Inhaltsplatzhalter 2">
            <a:extLst>
              <a:ext uri="{FF2B5EF4-FFF2-40B4-BE49-F238E27FC236}">
                <a16:creationId xmlns:a16="http://schemas.microsoft.com/office/drawing/2014/main" id="{B07F18AC-7744-A4E8-94C9-F9C9DE05D164}"/>
              </a:ext>
            </a:extLst>
          </p:cNvPr>
          <p:cNvSpPr>
            <a:spLocks noGrp="1"/>
          </p:cNvSpPr>
          <p:nvPr>
            <p:ph idx="1"/>
          </p:nvPr>
        </p:nvSpPr>
        <p:spPr bwMode="gray">
          <a:xfrm>
            <a:off x="695325" y="1844675"/>
            <a:ext cx="5040000" cy="3960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Parallelogramm 4">
            <a:extLst>
              <a:ext uri="{FF2B5EF4-FFF2-40B4-BE49-F238E27FC236}">
                <a16:creationId xmlns:a16="http://schemas.microsoft.com/office/drawing/2014/main" id="{BCB31CE8-D1B5-9C1A-58C7-1059C79BC69F}"/>
              </a:ext>
            </a:extLst>
          </p:cNvPr>
          <p:cNvSpPr/>
          <p:nvPr userDrawn="1"/>
        </p:nvSpPr>
        <p:spPr bwMode="gray">
          <a:xfrm>
            <a:off x="5529600" y="0"/>
            <a:ext cx="2275200" cy="6858000"/>
          </a:xfrm>
          <a:prstGeom prst="parallelogram">
            <a:avLst>
              <a:gd name="adj" fmla="val 9672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8" name="Datumsplatzhalter 17">
            <a:extLst>
              <a:ext uri="{FF2B5EF4-FFF2-40B4-BE49-F238E27FC236}">
                <a16:creationId xmlns:a16="http://schemas.microsoft.com/office/drawing/2014/main" id="{7BB977EE-B9B1-7CBB-D317-4307B2A95A18}"/>
              </a:ext>
            </a:extLst>
          </p:cNvPr>
          <p:cNvSpPr>
            <a:spLocks noGrp="1"/>
          </p:cNvSpPr>
          <p:nvPr>
            <p:ph type="dt" sz="half" idx="31"/>
          </p:nvPr>
        </p:nvSpPr>
        <p:spPr bwMode="gray">
          <a:xfrm>
            <a:off x="695325" y="6498000"/>
            <a:ext cx="2743200" cy="180000"/>
          </a:xfrm>
        </p:spPr>
        <p:txBody>
          <a:bodyPr/>
          <a:lstStyle/>
          <a:p>
            <a:fld id="{E9525A29-23CD-4F52-8377-5C589D121A9D}" type="datetime1">
              <a:rPr lang="de-DE" smtClean="0"/>
              <a:t>30.11.2024</a:t>
            </a:fld>
            <a:endParaRPr lang="de-DE" dirty="0"/>
          </a:p>
        </p:txBody>
      </p:sp>
      <p:sp>
        <p:nvSpPr>
          <p:cNvPr id="20" name="Fußzeilenplatzhalter 19">
            <a:extLst>
              <a:ext uri="{FF2B5EF4-FFF2-40B4-BE49-F238E27FC236}">
                <a16:creationId xmlns:a16="http://schemas.microsoft.com/office/drawing/2014/main" id="{CEF97FD6-05E7-60D3-E05C-B5227494FF5C}"/>
              </a:ext>
            </a:extLst>
          </p:cNvPr>
          <p:cNvSpPr>
            <a:spLocks noGrp="1"/>
          </p:cNvSpPr>
          <p:nvPr>
            <p:ph type="ftr" sz="quarter" idx="32"/>
          </p:nvPr>
        </p:nvSpPr>
        <p:spPr bwMode="gray"/>
        <p:txBody>
          <a:bodyPr/>
          <a:lstStyle/>
          <a:p>
            <a:r>
              <a:rPr lang="de-DE" dirty="0"/>
              <a:t>Unternehmenspräsentation</a:t>
            </a:r>
          </a:p>
        </p:txBody>
      </p:sp>
      <p:sp>
        <p:nvSpPr>
          <p:cNvPr id="21" name="Foliennummernplatzhalter 20">
            <a:extLst>
              <a:ext uri="{FF2B5EF4-FFF2-40B4-BE49-F238E27FC236}">
                <a16:creationId xmlns:a16="http://schemas.microsoft.com/office/drawing/2014/main" id="{01C51582-E549-5504-DC73-77F5009C9590}"/>
              </a:ext>
            </a:extLst>
          </p:cNvPr>
          <p:cNvSpPr>
            <a:spLocks noGrp="1"/>
          </p:cNvSpPr>
          <p:nvPr>
            <p:ph type="sldNum" sz="quarter" idx="33"/>
          </p:nvPr>
        </p:nvSpPr>
        <p:spPr bwMode="gray"/>
        <p:txBody>
          <a:bodyPr/>
          <a:lstStyle/>
          <a:p>
            <a:fld id="{1A2CFED3-8F6A-4617-95E5-25D21BE72BEB}" type="slidenum">
              <a:rPr lang="de-DE" smtClean="0"/>
              <a:pPr/>
              <a:t>‹#›</a:t>
            </a:fld>
            <a:endParaRPr lang="de-DE" dirty="0"/>
          </a:p>
        </p:txBody>
      </p:sp>
      <p:sp>
        <p:nvSpPr>
          <p:cNvPr id="3" name="Textplatzhalter 5">
            <a:extLst>
              <a:ext uri="{FF2B5EF4-FFF2-40B4-BE49-F238E27FC236}">
                <a16:creationId xmlns:a16="http://schemas.microsoft.com/office/drawing/2014/main" id="{F71A953F-F1F6-C0CA-9667-B7806FCACA28}"/>
              </a:ext>
            </a:extLst>
          </p:cNvPr>
          <p:cNvSpPr>
            <a:spLocks noGrp="1"/>
          </p:cNvSpPr>
          <p:nvPr>
            <p:ph type="body" sz="quarter" idx="34" hasCustomPrompt="1"/>
          </p:nvPr>
        </p:nvSpPr>
        <p:spPr bwMode="white">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3852517048"/>
      </p:ext>
    </p:extLst>
  </p:cSld>
  <p:clrMapOvr>
    <a:masterClrMapping/>
  </p:clrMapOvr>
  <p:hf sldNum="0" hdr="0" ftr="0"/>
  <p:extLst>
    <p:ext uri="{DCECCB84-F9BA-43D5-87BE-67443E8EF086}">
      <p15:sldGuideLst xmlns:p15="http://schemas.microsoft.com/office/powerpoint/2012/main">
        <p15:guide id="1" pos="4067">
          <p15:clr>
            <a:srgbClr val="FBAE40"/>
          </p15:clr>
        </p15:guide>
        <p15:guide id="2" orient="horz" pos="116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oben + Inhalt / Logo farb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785BA5DD-E1A9-9DF9-4FA8-ED13D394BE03}"/>
              </a:ext>
            </a:extLst>
          </p:cNvPr>
          <p:cNvSpPr>
            <a:spLocks noGrp="1"/>
          </p:cNvSpPr>
          <p:nvPr>
            <p:ph type="pic" sz="quarter" idx="14"/>
          </p:nvPr>
        </p:nvSpPr>
        <p:spPr bwMode="gray">
          <a:xfrm>
            <a:off x="0" y="-1"/>
            <a:ext cx="12192000" cy="3789363"/>
          </a:xfrm>
          <a:solidFill>
            <a:schemeClr val="bg1">
              <a:lumMod val="95000"/>
            </a:schemeClr>
          </a:solidFill>
        </p:spPr>
        <p:txBody>
          <a:bodyPr lIns="72000" tIns="72000"/>
          <a:lstStyle/>
          <a:p>
            <a:r>
              <a:rPr lang="en-US"/>
              <a:t>Click icon to add picture</a:t>
            </a:r>
            <a:endParaRPr lang="de-DE" dirty="0"/>
          </a:p>
        </p:txBody>
      </p:sp>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5324" y="4977127"/>
            <a:ext cx="10801351" cy="1331597"/>
          </a:xfrm>
        </p:spPr>
        <p:txBody>
          <a:bodyPr/>
          <a:lstStyle>
            <a:lvl5pPr marL="720000" indent="0">
              <a:defRPr/>
            </a:lvl5pPr>
            <a:lvl8pPr indent="-504000">
              <a:defRPr sz="2400" cap="none" baseline="0">
                <a:solidFill>
                  <a:schemeClr val="accent1">
                    <a:lumMod val="75000"/>
                  </a:schemeClr>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220D7906-FE6A-4B48-AF3C-6E743F1A0FB6}"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14" name="Bildplatzhalter 11">
            <a:extLst>
              <a:ext uri="{FF2B5EF4-FFF2-40B4-BE49-F238E27FC236}">
                <a16:creationId xmlns:a16="http://schemas.microsoft.com/office/drawing/2014/main" id="{F28DE939-76E1-9BC4-AD48-44B6AE480E19}"/>
              </a:ext>
            </a:extLst>
          </p:cNvPr>
          <p:cNvSpPr>
            <a:spLocks noGrp="1"/>
          </p:cNvSpPr>
          <p:nvPr>
            <p:ph type="pic" sz="quarter" idx="24"/>
          </p:nvPr>
        </p:nvSpPr>
        <p:spPr bwMode="gray">
          <a:xfrm>
            <a:off x="5051884" y="4043902"/>
            <a:ext cx="2088232" cy="678684"/>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2" name="Rechteck 1">
            <a:extLst>
              <a:ext uri="{FF2B5EF4-FFF2-40B4-BE49-F238E27FC236}">
                <a16:creationId xmlns:a16="http://schemas.microsoft.com/office/drawing/2014/main" id="{E4B6B48E-44FC-25ED-BF46-F5DAF7E969A6}"/>
              </a:ext>
            </a:extLst>
          </p:cNvPr>
          <p:cNvSpPr/>
          <p:nvPr userDrawn="1"/>
        </p:nvSpPr>
        <p:spPr bwMode="gray">
          <a:xfrm>
            <a:off x="0" y="3789361"/>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8" name="Textplatzhalter 5">
            <a:extLst>
              <a:ext uri="{FF2B5EF4-FFF2-40B4-BE49-F238E27FC236}">
                <a16:creationId xmlns:a16="http://schemas.microsoft.com/office/drawing/2014/main" id="{F24A48FB-AC19-D5EC-F682-9E3782CD3543}"/>
              </a:ext>
            </a:extLst>
          </p:cNvPr>
          <p:cNvSpPr>
            <a:spLocks noGrp="1"/>
          </p:cNvSpPr>
          <p:nvPr>
            <p:ph type="body" sz="quarter" idx="34" hasCustomPrompt="1"/>
          </p:nvPr>
        </p:nvSpPr>
        <p:spPr bwMode="black">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13153177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oben + Inhalt / Logo weiss">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785BA5DD-E1A9-9DF9-4FA8-ED13D394BE03}"/>
              </a:ext>
            </a:extLst>
          </p:cNvPr>
          <p:cNvSpPr>
            <a:spLocks noGrp="1"/>
          </p:cNvSpPr>
          <p:nvPr>
            <p:ph type="pic" sz="quarter" idx="14"/>
          </p:nvPr>
        </p:nvSpPr>
        <p:spPr bwMode="gray">
          <a:xfrm>
            <a:off x="0" y="-1"/>
            <a:ext cx="12192000" cy="3789363"/>
          </a:xfrm>
          <a:solidFill>
            <a:schemeClr val="bg1">
              <a:lumMod val="95000"/>
            </a:schemeClr>
          </a:solidFill>
        </p:spPr>
        <p:txBody>
          <a:bodyPr lIns="72000" tIns="72000"/>
          <a:lstStyle/>
          <a:p>
            <a:r>
              <a:rPr lang="en-US"/>
              <a:t>Click icon to add picture</a:t>
            </a:r>
            <a:endParaRPr lang="de-DE" dirty="0"/>
          </a:p>
        </p:txBody>
      </p:sp>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bwMode="gray">
          <a:xfrm>
            <a:off x="695324" y="4977127"/>
            <a:ext cx="10801351" cy="1331597"/>
          </a:xfrm>
        </p:spPr>
        <p:txBody>
          <a:bodyPr/>
          <a:lstStyle>
            <a:lvl5pPr marL="720000" indent="0">
              <a:defRPr/>
            </a:lvl5pPr>
            <a:lvl8pPr indent="-504000">
              <a:defRPr sz="2400" cap="none" baseline="0">
                <a:solidFill>
                  <a:schemeClr val="accent1">
                    <a:lumMod val="75000"/>
                  </a:schemeClr>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bwMode="gray"/>
        <p:txBody>
          <a:bodyPr/>
          <a:lstStyle/>
          <a:p>
            <a:fld id="{220D7906-FE6A-4B48-AF3C-6E743F1A0FB6}" type="datetime1">
              <a:rPr lang="de-DE" smtClean="0"/>
              <a:t>30.11.2024</a:t>
            </a:fld>
            <a:endParaRPr lang="de-DE" dirty="0"/>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bwMode="gray"/>
        <p:txBody>
          <a:bodyPr/>
          <a:lstStyle/>
          <a:p>
            <a:r>
              <a:rPr lang="de-DE" dirty="0"/>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bwMode="gray"/>
        <p:txBody>
          <a:bodyPr/>
          <a:lstStyle/>
          <a:p>
            <a:fld id="{898D279D-9EEE-4375-932F-276CB614E9A4}" type="slidenum">
              <a:rPr lang="de-DE" smtClean="0"/>
              <a:t>‹#›</a:t>
            </a:fld>
            <a:endParaRPr lang="de-DE" dirty="0"/>
          </a:p>
        </p:txBody>
      </p:sp>
      <p:sp>
        <p:nvSpPr>
          <p:cNvPr id="14" name="Bildplatzhalter 11">
            <a:extLst>
              <a:ext uri="{FF2B5EF4-FFF2-40B4-BE49-F238E27FC236}">
                <a16:creationId xmlns:a16="http://schemas.microsoft.com/office/drawing/2014/main" id="{F28DE939-76E1-9BC4-AD48-44B6AE480E19}"/>
              </a:ext>
            </a:extLst>
          </p:cNvPr>
          <p:cNvSpPr>
            <a:spLocks noGrp="1"/>
          </p:cNvSpPr>
          <p:nvPr>
            <p:ph type="pic" sz="quarter" idx="24"/>
          </p:nvPr>
        </p:nvSpPr>
        <p:spPr bwMode="gray">
          <a:xfrm>
            <a:off x="5051884" y="4043902"/>
            <a:ext cx="2088232" cy="678684"/>
          </a:xfrm>
          <a:prstGeom prst="rect">
            <a:avLst/>
          </a:prstGeom>
        </p:spPr>
        <p:txBody>
          <a:bodyPr/>
          <a:lstStyle>
            <a:lvl1pPr marL="0" indent="0">
              <a:buNone/>
              <a:defRPr sz="1333">
                <a:latin typeface="+mn-lt"/>
              </a:defRPr>
            </a:lvl1pPr>
          </a:lstStyle>
          <a:p>
            <a:r>
              <a:rPr lang="en-US"/>
              <a:t>Click icon to add picture</a:t>
            </a:r>
            <a:endParaRPr lang="de-DE" dirty="0"/>
          </a:p>
        </p:txBody>
      </p:sp>
      <p:sp>
        <p:nvSpPr>
          <p:cNvPr id="2" name="Rechteck 1">
            <a:extLst>
              <a:ext uri="{FF2B5EF4-FFF2-40B4-BE49-F238E27FC236}">
                <a16:creationId xmlns:a16="http://schemas.microsoft.com/office/drawing/2014/main" id="{E4B6B48E-44FC-25ED-BF46-F5DAF7E969A6}"/>
              </a:ext>
            </a:extLst>
          </p:cNvPr>
          <p:cNvSpPr/>
          <p:nvPr userDrawn="1"/>
        </p:nvSpPr>
        <p:spPr bwMode="gray">
          <a:xfrm>
            <a:off x="0" y="3789361"/>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7" name="Textplatzhalter 5">
            <a:extLst>
              <a:ext uri="{FF2B5EF4-FFF2-40B4-BE49-F238E27FC236}">
                <a16:creationId xmlns:a16="http://schemas.microsoft.com/office/drawing/2014/main" id="{1B6AB3CA-0B2A-FD55-8605-709CB1134FC1}"/>
              </a:ext>
            </a:extLst>
          </p:cNvPr>
          <p:cNvSpPr>
            <a:spLocks noGrp="1"/>
          </p:cNvSpPr>
          <p:nvPr>
            <p:ph type="body" sz="quarter" idx="34" hasCustomPrompt="1"/>
          </p:nvPr>
        </p:nvSpPr>
        <p:spPr bwMode="white">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32405714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B16DAD80-4F74-C10E-E47B-AC27AFB51262}"/>
              </a:ext>
            </a:extLst>
          </p:cNvPr>
          <p:cNvSpPr>
            <a:spLocks noGrp="1"/>
          </p:cNvSpPr>
          <p:nvPr>
            <p:ph type="pic" sz="quarter" idx="14"/>
          </p:nvPr>
        </p:nvSpPr>
        <p:spPr bwMode="gray">
          <a:xfrm>
            <a:off x="0" y="1844675"/>
            <a:ext cx="12192000" cy="4464050"/>
          </a:xfrm>
          <a:solidFill>
            <a:schemeClr val="bg1">
              <a:lumMod val="95000"/>
            </a:schemeClr>
          </a:solidFill>
        </p:spPr>
        <p:txBody>
          <a:bodyPr lIns="72000" tIns="72000"/>
          <a:lstStyle/>
          <a:p>
            <a:r>
              <a:rPr lang="en-US"/>
              <a:t>Click icon to add picture</a:t>
            </a:r>
            <a:endParaRPr lang="de-DE" dirty="0"/>
          </a:p>
        </p:txBody>
      </p:sp>
      <p:sp>
        <p:nvSpPr>
          <p:cNvPr id="2" name="Datumsplatzhalter 1">
            <a:extLst>
              <a:ext uri="{FF2B5EF4-FFF2-40B4-BE49-F238E27FC236}">
                <a16:creationId xmlns:a16="http://schemas.microsoft.com/office/drawing/2014/main" id="{F1A492F7-8403-7528-04E1-42A8A9FECDD1}"/>
              </a:ext>
            </a:extLst>
          </p:cNvPr>
          <p:cNvSpPr>
            <a:spLocks noGrp="1"/>
          </p:cNvSpPr>
          <p:nvPr>
            <p:ph type="dt" sz="half" idx="15"/>
          </p:nvPr>
        </p:nvSpPr>
        <p:spPr bwMode="gray"/>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4FC06E0C-3F30-586B-D58D-AA9E6D792417}"/>
              </a:ext>
            </a:extLst>
          </p:cNvPr>
          <p:cNvSpPr>
            <a:spLocks noGrp="1"/>
          </p:cNvSpPr>
          <p:nvPr>
            <p:ph type="ftr" sz="quarter" idx="16"/>
          </p:nvPr>
        </p:nvSpPr>
        <p:spPr bwMode="gray"/>
        <p:txBody>
          <a:bodyPr/>
          <a:lstStyle/>
          <a:p>
            <a:r>
              <a:rPr lang="de-DE" dirty="0"/>
              <a:t>Unternehmenspräsentation</a:t>
            </a:r>
          </a:p>
        </p:txBody>
      </p:sp>
      <p:sp>
        <p:nvSpPr>
          <p:cNvPr id="10" name="Foliennummernplatzhalter 9">
            <a:extLst>
              <a:ext uri="{FF2B5EF4-FFF2-40B4-BE49-F238E27FC236}">
                <a16:creationId xmlns:a16="http://schemas.microsoft.com/office/drawing/2014/main" id="{6FC2D7DF-6A21-6C82-01A7-524170F06439}"/>
              </a:ext>
            </a:extLst>
          </p:cNvPr>
          <p:cNvSpPr>
            <a:spLocks noGrp="1"/>
          </p:cNvSpPr>
          <p:nvPr>
            <p:ph type="sldNum" sz="quarter" idx="17"/>
          </p:nvPr>
        </p:nvSpPr>
        <p:spPr bwMode="gray"/>
        <p:txBody>
          <a:bodyPr/>
          <a:lstStyle/>
          <a:p>
            <a:fld id="{1A2CFED3-8F6A-4617-95E5-25D21BE72BEB}" type="slidenum">
              <a:rPr lang="de-DE" smtClean="0"/>
              <a:pPr/>
              <a:t>‹#›</a:t>
            </a:fld>
            <a:endParaRPr lang="de-DE" dirty="0"/>
          </a:p>
        </p:txBody>
      </p:sp>
      <p:sp>
        <p:nvSpPr>
          <p:cNvPr id="4" name="Rechteck 3">
            <a:extLst>
              <a:ext uri="{FF2B5EF4-FFF2-40B4-BE49-F238E27FC236}">
                <a16:creationId xmlns:a16="http://schemas.microsoft.com/office/drawing/2014/main" id="{9DF20893-AD1C-7BC8-0C20-B19D340CFFBF}"/>
              </a:ext>
            </a:extLst>
          </p:cNvPr>
          <p:cNvSpPr/>
          <p:nvPr userDrawn="1"/>
        </p:nvSpPr>
        <p:spPr bwMode="gray">
          <a:xfrm>
            <a:off x="0" y="6312643"/>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5" name="Titel 4">
            <a:extLst>
              <a:ext uri="{FF2B5EF4-FFF2-40B4-BE49-F238E27FC236}">
                <a16:creationId xmlns:a16="http://schemas.microsoft.com/office/drawing/2014/main" id="{06CE65C8-D236-C4E0-F9BD-C53994A133D3}"/>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13691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ld vollflächig / Logo farbi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B16DAD80-4F74-C10E-E47B-AC27AFB51262}"/>
              </a:ext>
            </a:extLst>
          </p:cNvPr>
          <p:cNvSpPr>
            <a:spLocks noGrp="1"/>
          </p:cNvSpPr>
          <p:nvPr>
            <p:ph type="pic" sz="quarter" idx="14"/>
          </p:nvPr>
        </p:nvSpPr>
        <p:spPr bwMode="gray">
          <a:xfrm>
            <a:off x="0" y="0"/>
            <a:ext cx="12192000" cy="6778800"/>
          </a:xfrm>
          <a:solidFill>
            <a:schemeClr val="bg1">
              <a:lumMod val="95000"/>
            </a:schemeClr>
          </a:solidFill>
        </p:spPr>
        <p:txBody>
          <a:bodyPr lIns="180000" tIns="180000" rIns="0"/>
          <a:lstStyle/>
          <a:p>
            <a:r>
              <a:rPr lang="en-US"/>
              <a:t>Click icon to add picture</a:t>
            </a:r>
            <a:endParaRPr lang="de-DE" dirty="0"/>
          </a:p>
        </p:txBody>
      </p:sp>
      <p:sp>
        <p:nvSpPr>
          <p:cNvPr id="2" name="Rechteck 1">
            <a:extLst>
              <a:ext uri="{FF2B5EF4-FFF2-40B4-BE49-F238E27FC236}">
                <a16:creationId xmlns:a16="http://schemas.microsoft.com/office/drawing/2014/main" id="{F5B6A2E9-BC9F-CBB3-068D-EBCAE498F708}"/>
              </a:ext>
            </a:extLst>
          </p:cNvPr>
          <p:cNvSpPr/>
          <p:nvPr userDrawn="1"/>
        </p:nvSpPr>
        <p:spPr bwMode="gray">
          <a:xfrm>
            <a:off x="0" y="6778800"/>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5" name="Textplatzhalter 5">
            <a:extLst>
              <a:ext uri="{FF2B5EF4-FFF2-40B4-BE49-F238E27FC236}">
                <a16:creationId xmlns:a16="http://schemas.microsoft.com/office/drawing/2014/main" id="{60B8052B-3BEC-B9B2-CEDD-71975F8C9777}"/>
              </a:ext>
            </a:extLst>
          </p:cNvPr>
          <p:cNvSpPr>
            <a:spLocks noGrp="1"/>
          </p:cNvSpPr>
          <p:nvPr>
            <p:ph type="body" sz="quarter" idx="34" hasCustomPrompt="1"/>
          </p:nvPr>
        </p:nvSpPr>
        <p:spPr bwMode="black">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pic>
        <p:nvPicPr>
          <p:cNvPr id="4" name="Grafik 3">
            <a:extLst>
              <a:ext uri="{FF2B5EF4-FFF2-40B4-BE49-F238E27FC236}">
                <a16:creationId xmlns:a16="http://schemas.microsoft.com/office/drawing/2014/main" id="{413FBEB4-431C-C9BA-298A-7139DAD938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23392" y="1828793"/>
            <a:ext cx="4051853" cy="2710747"/>
          </a:xfrm>
          <a:prstGeom prst="rect">
            <a:avLst/>
          </a:prstGeom>
        </p:spPr>
      </p:pic>
      <p:sp>
        <p:nvSpPr>
          <p:cNvPr id="3" name="Textplatzhalter 2">
            <a:extLst>
              <a:ext uri="{FF2B5EF4-FFF2-40B4-BE49-F238E27FC236}">
                <a16:creationId xmlns:a16="http://schemas.microsoft.com/office/drawing/2014/main" id="{465FA317-79B3-2E9C-10D3-9572A2A395BD}"/>
              </a:ext>
            </a:extLst>
          </p:cNvPr>
          <p:cNvSpPr>
            <a:spLocks noGrp="1"/>
          </p:cNvSpPr>
          <p:nvPr>
            <p:ph type="body" idx="1"/>
          </p:nvPr>
        </p:nvSpPr>
        <p:spPr bwMode="gray">
          <a:xfrm>
            <a:off x="700368" y="2066925"/>
            <a:ext cx="3897899" cy="2193873"/>
          </a:xfrm>
          <a:prstGeom prst="flowChartInputOutput">
            <a:avLst/>
          </a:prstGeom>
          <a:noFill/>
          <a:ln w="25400">
            <a:noFill/>
          </a:ln>
        </p:spPr>
        <p:txBody>
          <a:bodyPr lIns="36000" tIns="36000" rIns="36000" bIns="36000" anchor="ctr" anchorCtr="1"/>
          <a:lstStyle>
            <a:lvl1pPr marL="0" indent="0" algn="ctr">
              <a:lnSpc>
                <a:spcPts val="2800"/>
              </a:lnSpc>
              <a:buNone/>
              <a:defRPr sz="2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6" name="Grafik 5">
            <a:extLst>
              <a:ext uri="{FF2B5EF4-FFF2-40B4-BE49-F238E27FC236}">
                <a16:creationId xmlns:a16="http://schemas.microsoft.com/office/drawing/2014/main" id="{A724A02C-D5B2-D789-F51A-75DAB2B6C6E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75792" y="1981193"/>
            <a:ext cx="4051853" cy="2710747"/>
          </a:xfrm>
          <a:prstGeom prst="rect">
            <a:avLst/>
          </a:prstGeom>
        </p:spPr>
      </p:pic>
    </p:spTree>
    <p:extLst>
      <p:ext uri="{BB962C8B-B14F-4D97-AF65-F5344CB8AC3E}">
        <p14:creationId xmlns:p14="http://schemas.microsoft.com/office/powerpoint/2010/main" val="1341881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6 Bilder">
    <p:spTree>
      <p:nvGrpSpPr>
        <p:cNvPr id="1" name=""/>
        <p:cNvGrpSpPr/>
        <p:nvPr/>
      </p:nvGrpSpPr>
      <p:grpSpPr>
        <a:xfrm>
          <a:off x="0" y="0"/>
          <a:ext cx="0" cy="0"/>
          <a:chOff x="0" y="0"/>
          <a:chExt cx="0" cy="0"/>
        </a:xfrm>
      </p:grpSpPr>
      <p:sp>
        <p:nvSpPr>
          <p:cNvPr id="14" name="Bildplatzhalter 7">
            <a:extLst>
              <a:ext uri="{FF2B5EF4-FFF2-40B4-BE49-F238E27FC236}">
                <a16:creationId xmlns:a16="http://schemas.microsoft.com/office/drawing/2014/main" id="{60CEECC1-8C0E-2FDD-79EE-FA415BAB2F2A}"/>
              </a:ext>
            </a:extLst>
          </p:cNvPr>
          <p:cNvSpPr>
            <a:spLocks noGrp="1"/>
          </p:cNvSpPr>
          <p:nvPr>
            <p:ph type="pic" sz="quarter" idx="17"/>
          </p:nvPr>
        </p:nvSpPr>
        <p:spPr bwMode="gray">
          <a:xfrm>
            <a:off x="-1" y="3466800"/>
            <a:ext cx="3960000" cy="3312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5" name="Bildplatzhalter 7">
            <a:extLst>
              <a:ext uri="{FF2B5EF4-FFF2-40B4-BE49-F238E27FC236}">
                <a16:creationId xmlns:a16="http://schemas.microsoft.com/office/drawing/2014/main" id="{6FE5E7A5-6DD8-F6BA-C150-18FA8F86D6AA}"/>
              </a:ext>
            </a:extLst>
          </p:cNvPr>
          <p:cNvSpPr>
            <a:spLocks noGrp="1"/>
          </p:cNvSpPr>
          <p:nvPr>
            <p:ph type="pic" sz="quarter" idx="18"/>
          </p:nvPr>
        </p:nvSpPr>
        <p:spPr bwMode="gray">
          <a:xfrm>
            <a:off x="4115999" y="3466800"/>
            <a:ext cx="3960000" cy="3312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6" name="Bildplatzhalter 7">
            <a:extLst>
              <a:ext uri="{FF2B5EF4-FFF2-40B4-BE49-F238E27FC236}">
                <a16:creationId xmlns:a16="http://schemas.microsoft.com/office/drawing/2014/main" id="{6DACC708-C858-851E-9AF6-5E418C7B5EDE}"/>
              </a:ext>
            </a:extLst>
          </p:cNvPr>
          <p:cNvSpPr>
            <a:spLocks noGrp="1"/>
          </p:cNvSpPr>
          <p:nvPr>
            <p:ph type="pic" sz="quarter" idx="19"/>
          </p:nvPr>
        </p:nvSpPr>
        <p:spPr bwMode="gray">
          <a:xfrm>
            <a:off x="8232000" y="3466092"/>
            <a:ext cx="3960000" cy="3312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8" name="Bildplatzhalter 7">
            <a:extLst>
              <a:ext uri="{FF2B5EF4-FFF2-40B4-BE49-F238E27FC236}">
                <a16:creationId xmlns:a16="http://schemas.microsoft.com/office/drawing/2014/main" id="{B16DAD80-4F74-C10E-E47B-AC27AFB51262}"/>
              </a:ext>
            </a:extLst>
          </p:cNvPr>
          <p:cNvSpPr>
            <a:spLocks noGrp="1"/>
          </p:cNvSpPr>
          <p:nvPr>
            <p:ph type="pic" sz="quarter" idx="14"/>
          </p:nvPr>
        </p:nvSpPr>
        <p:spPr bwMode="gray">
          <a:xfrm>
            <a:off x="0" y="0"/>
            <a:ext cx="3960000" cy="3312000"/>
          </a:xfrm>
          <a:solidFill>
            <a:schemeClr val="bg1">
              <a:lumMod val="95000"/>
            </a:schemeClr>
          </a:solidFill>
        </p:spPr>
        <p:txBody>
          <a:bodyPr vert="horz" lIns="180000" tIns="180000" rIns="0" bIns="0" rtlCol="0">
            <a:noAutofit/>
          </a:bodyPr>
          <a:lstStyle>
            <a:lvl1pPr>
              <a:defRPr lang="de-DE" sz="1600" kern="1200" spc="40" baseline="0" noProof="0" dirty="0">
                <a:solidFill>
                  <a:schemeClr val="tx1"/>
                </a:solidFill>
                <a:latin typeface="+mn-lt"/>
                <a:ea typeface="+mn-ea"/>
                <a:cs typeface="+mn-cs"/>
              </a:defRPr>
            </a:lvl1pPr>
          </a:lstStyle>
          <a:p>
            <a:pPr lvl="0"/>
            <a:r>
              <a:rPr lang="en-US"/>
              <a:t>Click icon to add picture</a:t>
            </a:r>
            <a:endParaRPr lang="de-DE" dirty="0"/>
          </a:p>
        </p:txBody>
      </p:sp>
      <p:sp>
        <p:nvSpPr>
          <p:cNvPr id="12" name="Bildplatzhalter 7">
            <a:extLst>
              <a:ext uri="{FF2B5EF4-FFF2-40B4-BE49-F238E27FC236}">
                <a16:creationId xmlns:a16="http://schemas.microsoft.com/office/drawing/2014/main" id="{06E9FB7B-CA59-DB20-7D69-10622246C68F}"/>
              </a:ext>
            </a:extLst>
          </p:cNvPr>
          <p:cNvSpPr>
            <a:spLocks noGrp="1"/>
          </p:cNvSpPr>
          <p:nvPr>
            <p:ph type="pic" sz="quarter" idx="15"/>
          </p:nvPr>
        </p:nvSpPr>
        <p:spPr bwMode="gray">
          <a:xfrm>
            <a:off x="4116000" y="0"/>
            <a:ext cx="3960000" cy="3312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3" name="Bildplatzhalter 7">
            <a:extLst>
              <a:ext uri="{FF2B5EF4-FFF2-40B4-BE49-F238E27FC236}">
                <a16:creationId xmlns:a16="http://schemas.microsoft.com/office/drawing/2014/main" id="{78D84D7D-960A-CB01-03D1-BD91824926EF}"/>
              </a:ext>
            </a:extLst>
          </p:cNvPr>
          <p:cNvSpPr>
            <a:spLocks noGrp="1"/>
          </p:cNvSpPr>
          <p:nvPr>
            <p:ph type="pic" sz="quarter" idx="16"/>
          </p:nvPr>
        </p:nvSpPr>
        <p:spPr bwMode="gray">
          <a:xfrm>
            <a:off x="8232000" y="0"/>
            <a:ext cx="3960000" cy="3312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2" name="Rechteck 1">
            <a:extLst>
              <a:ext uri="{FF2B5EF4-FFF2-40B4-BE49-F238E27FC236}">
                <a16:creationId xmlns:a16="http://schemas.microsoft.com/office/drawing/2014/main" id="{2CC876D9-E9FA-FB04-1401-6B95DB6CC15F}"/>
              </a:ext>
            </a:extLst>
          </p:cNvPr>
          <p:cNvSpPr/>
          <p:nvPr userDrawn="1"/>
        </p:nvSpPr>
        <p:spPr bwMode="gray">
          <a:xfrm>
            <a:off x="0" y="6778800"/>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7" name="Textplatzhalter 16">
            <a:extLst>
              <a:ext uri="{FF2B5EF4-FFF2-40B4-BE49-F238E27FC236}">
                <a16:creationId xmlns:a16="http://schemas.microsoft.com/office/drawing/2014/main" id="{86BA5DBF-FAA2-AF3C-FC63-7B630E2B3AEB}"/>
              </a:ext>
            </a:extLst>
          </p:cNvPr>
          <p:cNvSpPr>
            <a:spLocks noGrp="1"/>
          </p:cNvSpPr>
          <p:nvPr>
            <p:ph type="body" idx="25"/>
          </p:nvPr>
        </p:nvSpPr>
        <p:spPr bwMode="gray">
          <a:xfrm>
            <a:off x="263352"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extplatzhalter 17">
            <a:extLst>
              <a:ext uri="{FF2B5EF4-FFF2-40B4-BE49-F238E27FC236}">
                <a16:creationId xmlns:a16="http://schemas.microsoft.com/office/drawing/2014/main" id="{2AE9EA77-6950-8C50-13BC-18914E2C5294}"/>
              </a:ext>
            </a:extLst>
          </p:cNvPr>
          <p:cNvSpPr>
            <a:spLocks noGrp="1"/>
          </p:cNvSpPr>
          <p:nvPr>
            <p:ph type="body" idx="26"/>
          </p:nvPr>
        </p:nvSpPr>
        <p:spPr bwMode="gray">
          <a:xfrm>
            <a:off x="4379351"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platzhalter 18">
            <a:extLst>
              <a:ext uri="{FF2B5EF4-FFF2-40B4-BE49-F238E27FC236}">
                <a16:creationId xmlns:a16="http://schemas.microsoft.com/office/drawing/2014/main" id="{8C0AE179-2EF0-FDF1-0725-F32D37AD2F26}"/>
              </a:ext>
            </a:extLst>
          </p:cNvPr>
          <p:cNvSpPr>
            <a:spLocks noGrp="1"/>
          </p:cNvSpPr>
          <p:nvPr>
            <p:ph type="body" idx="27"/>
          </p:nvPr>
        </p:nvSpPr>
        <p:spPr bwMode="gray">
          <a:xfrm>
            <a:off x="8495352"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platzhalter 19">
            <a:extLst>
              <a:ext uri="{FF2B5EF4-FFF2-40B4-BE49-F238E27FC236}">
                <a16:creationId xmlns:a16="http://schemas.microsoft.com/office/drawing/2014/main" id="{6D9EA9C9-A290-A99A-3855-FF2E058A1F38}"/>
              </a:ext>
            </a:extLst>
          </p:cNvPr>
          <p:cNvSpPr>
            <a:spLocks noGrp="1"/>
          </p:cNvSpPr>
          <p:nvPr>
            <p:ph type="body" idx="28"/>
          </p:nvPr>
        </p:nvSpPr>
        <p:spPr bwMode="gray">
          <a:xfrm>
            <a:off x="263352" y="4063572"/>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extplatzhalter 20">
            <a:extLst>
              <a:ext uri="{FF2B5EF4-FFF2-40B4-BE49-F238E27FC236}">
                <a16:creationId xmlns:a16="http://schemas.microsoft.com/office/drawing/2014/main" id="{5F9FFA2D-7C7E-1996-CB14-1567D989F860}"/>
              </a:ext>
            </a:extLst>
          </p:cNvPr>
          <p:cNvSpPr>
            <a:spLocks noGrp="1"/>
          </p:cNvSpPr>
          <p:nvPr>
            <p:ph type="body" idx="29"/>
          </p:nvPr>
        </p:nvSpPr>
        <p:spPr bwMode="gray">
          <a:xfrm>
            <a:off x="4379351" y="4063572"/>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Textplatzhalter 21">
            <a:extLst>
              <a:ext uri="{FF2B5EF4-FFF2-40B4-BE49-F238E27FC236}">
                <a16:creationId xmlns:a16="http://schemas.microsoft.com/office/drawing/2014/main" id="{18211870-2328-A11A-8BB2-94F50BF09B19}"/>
              </a:ext>
            </a:extLst>
          </p:cNvPr>
          <p:cNvSpPr>
            <a:spLocks noGrp="1"/>
          </p:cNvSpPr>
          <p:nvPr>
            <p:ph type="body" idx="30"/>
          </p:nvPr>
        </p:nvSpPr>
        <p:spPr bwMode="gray">
          <a:xfrm>
            <a:off x="8495352" y="4063572"/>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268455688"/>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 Bilder + Linien">
    <p:spTree>
      <p:nvGrpSpPr>
        <p:cNvPr id="1" name=""/>
        <p:cNvGrpSpPr/>
        <p:nvPr/>
      </p:nvGrpSpPr>
      <p:grpSpPr>
        <a:xfrm>
          <a:off x="0" y="0"/>
          <a:ext cx="0" cy="0"/>
          <a:chOff x="0" y="0"/>
          <a:chExt cx="0" cy="0"/>
        </a:xfrm>
      </p:grpSpPr>
      <p:sp>
        <p:nvSpPr>
          <p:cNvPr id="14" name="Bildplatzhalter 7">
            <a:extLst>
              <a:ext uri="{FF2B5EF4-FFF2-40B4-BE49-F238E27FC236}">
                <a16:creationId xmlns:a16="http://schemas.microsoft.com/office/drawing/2014/main" id="{60CEECC1-8C0E-2FDD-79EE-FA415BAB2F2A}"/>
              </a:ext>
            </a:extLst>
          </p:cNvPr>
          <p:cNvSpPr>
            <a:spLocks noGrp="1"/>
          </p:cNvSpPr>
          <p:nvPr>
            <p:ph type="pic" sz="quarter" idx="17"/>
          </p:nvPr>
        </p:nvSpPr>
        <p:spPr bwMode="gray">
          <a:xfrm>
            <a:off x="-1" y="3502800"/>
            <a:ext cx="3960000" cy="3276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5" name="Bildplatzhalter 7">
            <a:extLst>
              <a:ext uri="{FF2B5EF4-FFF2-40B4-BE49-F238E27FC236}">
                <a16:creationId xmlns:a16="http://schemas.microsoft.com/office/drawing/2014/main" id="{6FE5E7A5-6DD8-F6BA-C150-18FA8F86D6AA}"/>
              </a:ext>
            </a:extLst>
          </p:cNvPr>
          <p:cNvSpPr>
            <a:spLocks noGrp="1"/>
          </p:cNvSpPr>
          <p:nvPr>
            <p:ph type="pic" sz="quarter" idx="18"/>
          </p:nvPr>
        </p:nvSpPr>
        <p:spPr bwMode="gray">
          <a:xfrm>
            <a:off x="4115999" y="3502800"/>
            <a:ext cx="3960000" cy="3276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6" name="Bildplatzhalter 7">
            <a:extLst>
              <a:ext uri="{FF2B5EF4-FFF2-40B4-BE49-F238E27FC236}">
                <a16:creationId xmlns:a16="http://schemas.microsoft.com/office/drawing/2014/main" id="{6DACC708-C858-851E-9AF6-5E418C7B5EDE}"/>
              </a:ext>
            </a:extLst>
          </p:cNvPr>
          <p:cNvSpPr>
            <a:spLocks noGrp="1"/>
          </p:cNvSpPr>
          <p:nvPr>
            <p:ph type="pic" sz="quarter" idx="19"/>
          </p:nvPr>
        </p:nvSpPr>
        <p:spPr bwMode="gray">
          <a:xfrm>
            <a:off x="8232000" y="3502800"/>
            <a:ext cx="3960000" cy="3276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8" name="Bildplatzhalter 7">
            <a:extLst>
              <a:ext uri="{FF2B5EF4-FFF2-40B4-BE49-F238E27FC236}">
                <a16:creationId xmlns:a16="http://schemas.microsoft.com/office/drawing/2014/main" id="{B16DAD80-4F74-C10E-E47B-AC27AFB51262}"/>
              </a:ext>
            </a:extLst>
          </p:cNvPr>
          <p:cNvSpPr>
            <a:spLocks noGrp="1"/>
          </p:cNvSpPr>
          <p:nvPr>
            <p:ph type="pic" sz="quarter" idx="14"/>
          </p:nvPr>
        </p:nvSpPr>
        <p:spPr bwMode="gray">
          <a:xfrm>
            <a:off x="0" y="0"/>
            <a:ext cx="3960000" cy="3276000"/>
          </a:xfrm>
          <a:solidFill>
            <a:schemeClr val="bg1">
              <a:lumMod val="95000"/>
            </a:schemeClr>
          </a:solidFill>
        </p:spPr>
        <p:txBody>
          <a:bodyPr vert="horz" lIns="180000" tIns="180000" rIns="0" bIns="0" rtlCol="0">
            <a:noAutofit/>
          </a:bodyPr>
          <a:lstStyle>
            <a:lvl1pPr>
              <a:defRPr lang="de-DE" sz="1600" kern="1200" spc="40" baseline="0" noProof="0" dirty="0">
                <a:solidFill>
                  <a:schemeClr val="tx1"/>
                </a:solidFill>
                <a:latin typeface="+mn-lt"/>
                <a:ea typeface="+mn-ea"/>
                <a:cs typeface="+mn-cs"/>
              </a:defRPr>
            </a:lvl1pPr>
          </a:lstStyle>
          <a:p>
            <a:pPr lvl="0"/>
            <a:r>
              <a:rPr lang="en-US"/>
              <a:t>Click icon to add picture</a:t>
            </a:r>
            <a:endParaRPr lang="de-DE" dirty="0"/>
          </a:p>
        </p:txBody>
      </p:sp>
      <p:sp>
        <p:nvSpPr>
          <p:cNvPr id="12" name="Bildplatzhalter 7">
            <a:extLst>
              <a:ext uri="{FF2B5EF4-FFF2-40B4-BE49-F238E27FC236}">
                <a16:creationId xmlns:a16="http://schemas.microsoft.com/office/drawing/2014/main" id="{06E9FB7B-CA59-DB20-7D69-10622246C68F}"/>
              </a:ext>
            </a:extLst>
          </p:cNvPr>
          <p:cNvSpPr>
            <a:spLocks noGrp="1"/>
          </p:cNvSpPr>
          <p:nvPr>
            <p:ph type="pic" sz="quarter" idx="15"/>
          </p:nvPr>
        </p:nvSpPr>
        <p:spPr bwMode="gray">
          <a:xfrm>
            <a:off x="4116000" y="0"/>
            <a:ext cx="3960000" cy="3276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13" name="Bildplatzhalter 7">
            <a:extLst>
              <a:ext uri="{FF2B5EF4-FFF2-40B4-BE49-F238E27FC236}">
                <a16:creationId xmlns:a16="http://schemas.microsoft.com/office/drawing/2014/main" id="{78D84D7D-960A-CB01-03D1-BD91824926EF}"/>
              </a:ext>
            </a:extLst>
          </p:cNvPr>
          <p:cNvSpPr>
            <a:spLocks noGrp="1"/>
          </p:cNvSpPr>
          <p:nvPr>
            <p:ph type="pic" sz="quarter" idx="16"/>
          </p:nvPr>
        </p:nvSpPr>
        <p:spPr bwMode="gray">
          <a:xfrm>
            <a:off x="8232000" y="0"/>
            <a:ext cx="3960000" cy="3276000"/>
          </a:xfrm>
          <a:solidFill>
            <a:schemeClr val="bg1">
              <a:lumMod val="95000"/>
            </a:schemeClr>
          </a:solidFill>
        </p:spPr>
        <p:txBody>
          <a:bodyPr vert="horz" lIns="180000" tIns="180000" rIns="0" bIns="0" rtlCol="0">
            <a:noAutofit/>
          </a:bodyPr>
          <a:lstStyle>
            <a:lvl1pPr>
              <a:defRPr lang="de-DE" dirty="0"/>
            </a:lvl1pPr>
          </a:lstStyle>
          <a:p>
            <a:pPr lvl="0"/>
            <a:r>
              <a:rPr lang="en-US"/>
              <a:t>Click icon to add picture</a:t>
            </a:r>
            <a:endParaRPr lang="de-DE" dirty="0"/>
          </a:p>
        </p:txBody>
      </p:sp>
      <p:sp>
        <p:nvSpPr>
          <p:cNvPr id="2" name="Rechteck 1">
            <a:extLst>
              <a:ext uri="{FF2B5EF4-FFF2-40B4-BE49-F238E27FC236}">
                <a16:creationId xmlns:a16="http://schemas.microsoft.com/office/drawing/2014/main" id="{2CC876D9-E9FA-FB04-1401-6B95DB6CC15F}"/>
              </a:ext>
            </a:extLst>
          </p:cNvPr>
          <p:cNvSpPr/>
          <p:nvPr userDrawn="1"/>
        </p:nvSpPr>
        <p:spPr bwMode="gray">
          <a:xfrm>
            <a:off x="0" y="67788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0" name="Rechteck 9">
            <a:extLst>
              <a:ext uri="{FF2B5EF4-FFF2-40B4-BE49-F238E27FC236}">
                <a16:creationId xmlns:a16="http://schemas.microsoft.com/office/drawing/2014/main" id="{60A1D386-F04E-48A0-E49A-08073922F3A8}"/>
              </a:ext>
            </a:extLst>
          </p:cNvPr>
          <p:cNvSpPr/>
          <p:nvPr userDrawn="1"/>
        </p:nvSpPr>
        <p:spPr bwMode="gray">
          <a:xfrm>
            <a:off x="8232000" y="67788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1" name="Rechteck 10">
            <a:extLst>
              <a:ext uri="{FF2B5EF4-FFF2-40B4-BE49-F238E27FC236}">
                <a16:creationId xmlns:a16="http://schemas.microsoft.com/office/drawing/2014/main" id="{CF9FF4F5-B22D-13CD-6B0D-DC9E435BC2F7}"/>
              </a:ext>
            </a:extLst>
          </p:cNvPr>
          <p:cNvSpPr/>
          <p:nvPr userDrawn="1"/>
        </p:nvSpPr>
        <p:spPr bwMode="gray">
          <a:xfrm>
            <a:off x="4116000" y="67788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7" name="Rechteck 16">
            <a:extLst>
              <a:ext uri="{FF2B5EF4-FFF2-40B4-BE49-F238E27FC236}">
                <a16:creationId xmlns:a16="http://schemas.microsoft.com/office/drawing/2014/main" id="{74033405-EAB3-0BFE-858B-AB543961AE76}"/>
              </a:ext>
            </a:extLst>
          </p:cNvPr>
          <p:cNvSpPr/>
          <p:nvPr userDrawn="1"/>
        </p:nvSpPr>
        <p:spPr bwMode="gray">
          <a:xfrm>
            <a:off x="0" y="32760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8" name="Rechteck 17">
            <a:extLst>
              <a:ext uri="{FF2B5EF4-FFF2-40B4-BE49-F238E27FC236}">
                <a16:creationId xmlns:a16="http://schemas.microsoft.com/office/drawing/2014/main" id="{87CCF2C5-EC14-C53B-231F-4085E04C42BE}"/>
              </a:ext>
            </a:extLst>
          </p:cNvPr>
          <p:cNvSpPr/>
          <p:nvPr userDrawn="1"/>
        </p:nvSpPr>
        <p:spPr bwMode="gray">
          <a:xfrm>
            <a:off x="8232000" y="32760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9" name="Rechteck 18">
            <a:extLst>
              <a:ext uri="{FF2B5EF4-FFF2-40B4-BE49-F238E27FC236}">
                <a16:creationId xmlns:a16="http://schemas.microsoft.com/office/drawing/2014/main" id="{D936BB2E-8813-6954-F820-51AA4F14D310}"/>
              </a:ext>
            </a:extLst>
          </p:cNvPr>
          <p:cNvSpPr/>
          <p:nvPr userDrawn="1"/>
        </p:nvSpPr>
        <p:spPr bwMode="gray">
          <a:xfrm>
            <a:off x="4116000" y="3276000"/>
            <a:ext cx="3960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20" name="Textplatzhalter 19">
            <a:extLst>
              <a:ext uri="{FF2B5EF4-FFF2-40B4-BE49-F238E27FC236}">
                <a16:creationId xmlns:a16="http://schemas.microsoft.com/office/drawing/2014/main" id="{232F4FBC-3124-43B1-216B-5280FD47C82E}"/>
              </a:ext>
            </a:extLst>
          </p:cNvPr>
          <p:cNvSpPr>
            <a:spLocks noGrp="1"/>
          </p:cNvSpPr>
          <p:nvPr>
            <p:ph type="body" idx="25"/>
          </p:nvPr>
        </p:nvSpPr>
        <p:spPr bwMode="gray">
          <a:xfrm>
            <a:off x="263352"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extplatzhalter 20">
            <a:extLst>
              <a:ext uri="{FF2B5EF4-FFF2-40B4-BE49-F238E27FC236}">
                <a16:creationId xmlns:a16="http://schemas.microsoft.com/office/drawing/2014/main" id="{EDF4A2F0-95CB-BD29-1F39-52A59B033CCB}"/>
              </a:ext>
            </a:extLst>
          </p:cNvPr>
          <p:cNvSpPr>
            <a:spLocks noGrp="1"/>
          </p:cNvSpPr>
          <p:nvPr>
            <p:ph type="body" idx="26"/>
          </p:nvPr>
        </p:nvSpPr>
        <p:spPr bwMode="gray">
          <a:xfrm>
            <a:off x="4379351"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Textplatzhalter 21">
            <a:extLst>
              <a:ext uri="{FF2B5EF4-FFF2-40B4-BE49-F238E27FC236}">
                <a16:creationId xmlns:a16="http://schemas.microsoft.com/office/drawing/2014/main" id="{27B128AF-797A-11F1-9552-07C2AA24D03D}"/>
              </a:ext>
            </a:extLst>
          </p:cNvPr>
          <p:cNvSpPr>
            <a:spLocks noGrp="1"/>
          </p:cNvSpPr>
          <p:nvPr>
            <p:ph type="body" idx="27"/>
          </p:nvPr>
        </p:nvSpPr>
        <p:spPr bwMode="gray">
          <a:xfrm>
            <a:off x="8495352" y="5974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Textplatzhalter 22">
            <a:extLst>
              <a:ext uri="{FF2B5EF4-FFF2-40B4-BE49-F238E27FC236}">
                <a16:creationId xmlns:a16="http://schemas.microsoft.com/office/drawing/2014/main" id="{F0B1B964-05C9-450B-DE4E-C56948643BD7}"/>
              </a:ext>
            </a:extLst>
          </p:cNvPr>
          <p:cNvSpPr>
            <a:spLocks noGrp="1"/>
          </p:cNvSpPr>
          <p:nvPr>
            <p:ph type="body" idx="28"/>
          </p:nvPr>
        </p:nvSpPr>
        <p:spPr bwMode="gray">
          <a:xfrm>
            <a:off x="263352" y="41002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Textplatzhalter 23">
            <a:extLst>
              <a:ext uri="{FF2B5EF4-FFF2-40B4-BE49-F238E27FC236}">
                <a16:creationId xmlns:a16="http://schemas.microsoft.com/office/drawing/2014/main" id="{8873319A-CABB-D621-AEF0-95632B1EC957}"/>
              </a:ext>
            </a:extLst>
          </p:cNvPr>
          <p:cNvSpPr>
            <a:spLocks noGrp="1"/>
          </p:cNvSpPr>
          <p:nvPr>
            <p:ph type="body" idx="29"/>
          </p:nvPr>
        </p:nvSpPr>
        <p:spPr bwMode="gray">
          <a:xfrm>
            <a:off x="4379351" y="41002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Textplatzhalter 24">
            <a:extLst>
              <a:ext uri="{FF2B5EF4-FFF2-40B4-BE49-F238E27FC236}">
                <a16:creationId xmlns:a16="http://schemas.microsoft.com/office/drawing/2014/main" id="{74D7F2ED-80F0-3FE8-9C46-4B6F7C9CA953}"/>
              </a:ext>
            </a:extLst>
          </p:cNvPr>
          <p:cNvSpPr>
            <a:spLocks noGrp="1"/>
          </p:cNvSpPr>
          <p:nvPr>
            <p:ph type="body" idx="30"/>
          </p:nvPr>
        </p:nvSpPr>
        <p:spPr bwMode="gray">
          <a:xfrm>
            <a:off x="8495352" y="4100280"/>
            <a:ext cx="2789584" cy="720080"/>
          </a:xfrm>
          <a:custGeom>
            <a:avLst/>
            <a:gdLst>
              <a:gd name="connsiteX0" fmla="*/ 155479 w 2789584"/>
              <a:gd name="connsiteY0" fmla="*/ 0 h 720080"/>
              <a:gd name="connsiteX1" fmla="*/ 2454765 w 2789584"/>
              <a:gd name="connsiteY1" fmla="*/ 0 h 720080"/>
              <a:gd name="connsiteX2" fmla="*/ 2457503 w 2789584"/>
              <a:gd name="connsiteY2" fmla="*/ 2505 h 720080"/>
              <a:gd name="connsiteX3" fmla="*/ 2492256 w 2789584"/>
              <a:gd name="connsiteY3" fmla="*/ 0 h 720080"/>
              <a:gd name="connsiteX4" fmla="*/ 2546479 w 2789584"/>
              <a:gd name="connsiteY4" fmla="*/ 0 h 720080"/>
              <a:gd name="connsiteX5" fmla="*/ 2591764 w 2789584"/>
              <a:gd name="connsiteY5" fmla="*/ 4690 h 720080"/>
              <a:gd name="connsiteX6" fmla="*/ 2743574 w 2789584"/>
              <a:gd name="connsiteY6" fmla="*/ 91519 h 720080"/>
              <a:gd name="connsiteX7" fmla="*/ 2789583 w 2789584"/>
              <a:gd name="connsiteY7" fmla="*/ 239045 h 720080"/>
              <a:gd name="connsiteX8" fmla="*/ 2785136 w 2789584"/>
              <a:gd name="connsiteY8" fmla="*/ 274159 h 720080"/>
              <a:gd name="connsiteX9" fmla="*/ 2624417 w 2789584"/>
              <a:gd name="connsiteY9" fmla="*/ 720080 h 720080"/>
              <a:gd name="connsiteX10" fmla="*/ 340659 w 2789584"/>
              <a:gd name="connsiteY10" fmla="*/ 720080 h 720080"/>
              <a:gd name="connsiteX11" fmla="*/ 332082 w 2789584"/>
              <a:gd name="connsiteY11" fmla="*/ 712234 h 720080"/>
              <a:gd name="connsiteX12" fmla="*/ 265358 w 2789584"/>
              <a:gd name="connsiteY12" fmla="*/ 717044 h 720080"/>
              <a:gd name="connsiteX13" fmla="*/ 46012 w 2789584"/>
              <a:gd name="connsiteY13" fmla="*/ 623220 h 720080"/>
              <a:gd name="connsiteX14" fmla="*/ 2 w 2789584"/>
              <a:gd name="connsiteY14" fmla="*/ 475694 h 720080"/>
              <a:gd name="connsiteX15" fmla="*/ 7633 w 2789584"/>
              <a:gd name="connsiteY15" fmla="*/ 415438 h 720080"/>
              <a:gd name="connsiteX16" fmla="*/ 6215 w 2789584"/>
              <a:gd name="connsiteY16" fmla="*/ 41414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9584" h="720080">
                <a:moveTo>
                  <a:pt x="155479" y="0"/>
                </a:moveTo>
                <a:lnTo>
                  <a:pt x="2454765" y="0"/>
                </a:lnTo>
                <a:lnTo>
                  <a:pt x="2457503" y="2505"/>
                </a:lnTo>
                <a:lnTo>
                  <a:pt x="2492256" y="0"/>
                </a:lnTo>
                <a:lnTo>
                  <a:pt x="2546479" y="0"/>
                </a:lnTo>
                <a:lnTo>
                  <a:pt x="2591764" y="4690"/>
                </a:lnTo>
                <a:cubicBezTo>
                  <a:pt x="2655718" y="17069"/>
                  <a:pt x="2708273" y="45705"/>
                  <a:pt x="2743574" y="91519"/>
                </a:cubicBezTo>
                <a:cubicBezTo>
                  <a:pt x="2774952" y="132242"/>
                  <a:pt x="2789730" y="182689"/>
                  <a:pt x="2789583" y="239045"/>
                </a:cubicBezTo>
                <a:lnTo>
                  <a:pt x="2785136" y="274159"/>
                </a:lnTo>
                <a:lnTo>
                  <a:pt x="2624417" y="720080"/>
                </a:lnTo>
                <a:lnTo>
                  <a:pt x="340659" y="720080"/>
                </a:lnTo>
                <a:lnTo>
                  <a:pt x="332082" y="712234"/>
                </a:lnTo>
                <a:lnTo>
                  <a:pt x="265358" y="717044"/>
                </a:lnTo>
                <a:cubicBezTo>
                  <a:pt x="170821" y="714853"/>
                  <a:pt x="93080" y="684305"/>
                  <a:pt x="46012" y="623220"/>
                </a:cubicBezTo>
                <a:cubicBezTo>
                  <a:pt x="14633" y="582497"/>
                  <a:pt x="-145" y="532051"/>
                  <a:pt x="2" y="475694"/>
                </a:cubicBezTo>
                <a:lnTo>
                  <a:pt x="7633" y="415438"/>
                </a:lnTo>
                <a:lnTo>
                  <a:pt x="6215" y="414140"/>
                </a:lnTo>
                <a:close/>
              </a:path>
            </a:pathLst>
          </a:custGeom>
          <a:solidFill>
            <a:srgbClr val="003C3C"/>
          </a:solidFill>
          <a:ln w="25400">
            <a:solidFill>
              <a:schemeClr val="bg1"/>
            </a:solidFill>
          </a:ln>
        </p:spPr>
        <p:txBody>
          <a:bodyPr wrap="square" lIns="0" tIns="0" rIns="0" bIns="0" anchor="ctr" anchorCtr="1">
            <a:noAutofit/>
          </a:bodyPr>
          <a:lstStyle>
            <a:lvl1pPr marL="0" indent="0" algn="l">
              <a:lnSpc>
                <a:spcPts val="2000"/>
              </a:lnSpc>
              <a:spcAft>
                <a:spcPts val="0"/>
              </a:spcAft>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288286702"/>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 + 2 Inhalt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7FEA724-02FB-1813-FD1B-E83794812073}"/>
              </a:ext>
            </a:extLst>
          </p:cNvPr>
          <p:cNvSpPr/>
          <p:nvPr userDrawn="1"/>
        </p:nvSpPr>
        <p:spPr bwMode="gray">
          <a:xfrm>
            <a:off x="0" y="6154216"/>
            <a:ext cx="12192000" cy="5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3" name="Inhaltsplatzhalter 2">
            <a:extLst>
              <a:ext uri="{FF2B5EF4-FFF2-40B4-BE49-F238E27FC236}">
                <a16:creationId xmlns:a16="http://schemas.microsoft.com/office/drawing/2014/main" id="{6A2BBD81-15BC-4427-11B2-3FB10B4E878E}"/>
              </a:ext>
            </a:extLst>
          </p:cNvPr>
          <p:cNvSpPr>
            <a:spLocks noGrp="1"/>
          </p:cNvSpPr>
          <p:nvPr>
            <p:ph idx="1"/>
          </p:nvPr>
        </p:nvSpPr>
        <p:spPr bwMode="gray">
          <a:xfrm>
            <a:off x="8328643" y="1844675"/>
            <a:ext cx="3168032" cy="43095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sz="1600" dirty="0"/>
            </a:lvl6pPr>
            <a:lvl7pPr>
              <a:defRPr lang="de-DE" dirty="0"/>
            </a:lvl7pPr>
            <a:lvl8pPr>
              <a:defRPr lang="de-DE" dirty="0"/>
            </a:lvl8pPr>
            <a:lvl9pPr>
              <a:defRPr lang="de-DE" sz="1600"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Bildplatzhalter 8">
            <a:extLst>
              <a:ext uri="{FF2B5EF4-FFF2-40B4-BE49-F238E27FC236}">
                <a16:creationId xmlns:a16="http://schemas.microsoft.com/office/drawing/2014/main" id="{253925E0-128E-309A-6B61-5D42AF7236B9}"/>
              </a:ext>
            </a:extLst>
          </p:cNvPr>
          <p:cNvSpPr>
            <a:spLocks noGrp="1"/>
          </p:cNvSpPr>
          <p:nvPr>
            <p:ph type="pic" sz="quarter" idx="37"/>
          </p:nvPr>
        </p:nvSpPr>
        <p:spPr bwMode="gray">
          <a:xfrm>
            <a:off x="0" y="1844675"/>
            <a:ext cx="4392000" cy="4309542"/>
          </a:xfrm>
          <a:solidFill>
            <a:schemeClr val="bg1">
              <a:lumMod val="95000"/>
            </a:schemeClr>
          </a:solidFill>
        </p:spPr>
        <p:txBody>
          <a:bodyPr/>
          <a:lstStyle/>
          <a:p>
            <a:r>
              <a:rPr lang="en-US"/>
              <a:t>Click icon to add picture</a:t>
            </a:r>
            <a:endParaRPr lang="de-DE" dirty="0"/>
          </a:p>
        </p:txBody>
      </p:sp>
      <p:sp>
        <p:nvSpPr>
          <p:cNvPr id="13" name="Inhaltsplatzhalter 2">
            <a:extLst>
              <a:ext uri="{FF2B5EF4-FFF2-40B4-BE49-F238E27FC236}">
                <a16:creationId xmlns:a16="http://schemas.microsoft.com/office/drawing/2014/main" id="{B3315C79-B72E-E00B-C6FA-B1C02902DEB7}"/>
              </a:ext>
            </a:extLst>
          </p:cNvPr>
          <p:cNvSpPr>
            <a:spLocks noGrp="1"/>
          </p:cNvSpPr>
          <p:nvPr>
            <p:ph idx="38"/>
          </p:nvPr>
        </p:nvSpPr>
        <p:spPr bwMode="gray">
          <a:xfrm>
            <a:off x="4740322" y="1844675"/>
            <a:ext cx="3240000" cy="4309542"/>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sz="1600" dirty="0"/>
            </a:lvl6pPr>
            <a:lvl7pPr>
              <a:defRPr lang="de-DE" dirty="0"/>
            </a:lvl7pPr>
            <a:lvl8pPr>
              <a:defRPr lang="de-DE" dirty="0"/>
            </a:lvl8pPr>
            <a:lvl9pPr>
              <a:defRPr lang="de-DE" sz="1600"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7" name="Textplatzhalter 2">
            <a:extLst>
              <a:ext uri="{FF2B5EF4-FFF2-40B4-BE49-F238E27FC236}">
                <a16:creationId xmlns:a16="http://schemas.microsoft.com/office/drawing/2014/main" id="{56F506E2-A878-3D26-E4F0-91C3B7E003DB}"/>
              </a:ext>
            </a:extLst>
          </p:cNvPr>
          <p:cNvSpPr>
            <a:spLocks noGrp="1"/>
          </p:cNvSpPr>
          <p:nvPr>
            <p:ph type="body" idx="39"/>
          </p:nvPr>
        </p:nvSpPr>
        <p:spPr bwMode="gray">
          <a:xfrm>
            <a:off x="720000" y="6262216"/>
            <a:ext cx="7248208" cy="360000"/>
          </a:xfrm>
        </p:spPr>
        <p:txBody>
          <a:bodyPr vert="horz" lIns="0" tIns="0" rIns="0" bIns="0" rtlCol="0" anchor="ctr">
            <a:noAutofit/>
          </a:bodyPr>
          <a:lstStyle>
            <a:lvl1pPr>
              <a:defRPr lang="de-DE" sz="2000" b="1" cap="none" spc="60" baseline="0" dirty="0">
                <a:solidFill>
                  <a:schemeClr val="bg1"/>
                </a:solidFill>
              </a:defRPr>
            </a:lvl1pPr>
          </a:lstStyle>
          <a:p>
            <a:pPr lvl="0"/>
            <a:r>
              <a:rPr lang="en-US"/>
              <a:t>Click to edit Master text styles</a:t>
            </a:r>
          </a:p>
        </p:txBody>
      </p:sp>
      <p:sp>
        <p:nvSpPr>
          <p:cNvPr id="48" name="Textplatzhalter 2">
            <a:extLst>
              <a:ext uri="{FF2B5EF4-FFF2-40B4-BE49-F238E27FC236}">
                <a16:creationId xmlns:a16="http://schemas.microsoft.com/office/drawing/2014/main" id="{0E50DD55-DC19-8920-EDB9-9A55BFE074CC}"/>
              </a:ext>
            </a:extLst>
          </p:cNvPr>
          <p:cNvSpPr>
            <a:spLocks noGrp="1"/>
          </p:cNvSpPr>
          <p:nvPr>
            <p:ph type="body" idx="40" hasCustomPrompt="1"/>
          </p:nvPr>
        </p:nvSpPr>
        <p:spPr bwMode="gray">
          <a:xfrm>
            <a:off x="8348344" y="6262216"/>
            <a:ext cx="3168032" cy="360000"/>
          </a:xfrm>
        </p:spPr>
        <p:txBody>
          <a:bodyPr vert="horz" lIns="0" tIns="0" rIns="0" bIns="0" rtlCol="0" anchor="ctr">
            <a:noAutofit/>
          </a:bodyPr>
          <a:lstStyle>
            <a:lvl1pPr>
              <a:defRPr lang="de-DE" sz="2000" b="1" cap="none" spc="60" baseline="0" dirty="0">
                <a:solidFill>
                  <a:schemeClr val="bg1"/>
                </a:solidFill>
              </a:defRPr>
            </a:lvl1pPr>
          </a:lstStyle>
          <a:p>
            <a:pPr lvl="0"/>
            <a:r>
              <a:rPr lang="de-DE" dirty="0"/>
              <a:t>bearbeiten</a:t>
            </a:r>
          </a:p>
        </p:txBody>
      </p:sp>
      <p:sp>
        <p:nvSpPr>
          <p:cNvPr id="4" name="Rechteck 3">
            <a:extLst>
              <a:ext uri="{FF2B5EF4-FFF2-40B4-BE49-F238E27FC236}">
                <a16:creationId xmlns:a16="http://schemas.microsoft.com/office/drawing/2014/main" id="{469A7D64-88D5-BEE5-44D0-21A10C1A6E36}"/>
              </a:ext>
            </a:extLst>
          </p:cNvPr>
          <p:cNvSpPr/>
          <p:nvPr userDrawn="1"/>
        </p:nvSpPr>
        <p:spPr bwMode="gray">
          <a:xfrm>
            <a:off x="0" y="6778800"/>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4" name="Titel 13">
            <a:extLst>
              <a:ext uri="{FF2B5EF4-FFF2-40B4-BE49-F238E27FC236}">
                <a16:creationId xmlns:a16="http://schemas.microsoft.com/office/drawing/2014/main" id="{014B1F6D-689A-1AFF-63DD-93083009FDD0}"/>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2077413708"/>
      </p:ext>
    </p:extLst>
  </p:cSld>
  <p:clrMapOvr>
    <a:masterClrMapping/>
  </p:clrMapOvr>
  <p:hf sldNum="0" hdr="0" ftr="0" dt="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9" name="Bildplatzhalter 8">
            <a:extLst>
              <a:ext uri="{FF2B5EF4-FFF2-40B4-BE49-F238E27FC236}">
                <a16:creationId xmlns:a16="http://schemas.microsoft.com/office/drawing/2014/main" id="{BB9E9ADA-BC90-AC0F-D8AF-CE1A2CDAAE3D}"/>
              </a:ext>
            </a:extLst>
          </p:cNvPr>
          <p:cNvSpPr>
            <a:spLocks noGrp="1" noChangeAspect="1"/>
          </p:cNvSpPr>
          <p:nvPr>
            <p:ph type="pic" sz="quarter" idx="37"/>
          </p:nvPr>
        </p:nvSpPr>
        <p:spPr bwMode="gray">
          <a:xfrm>
            <a:off x="695325" y="1556792"/>
            <a:ext cx="1656000" cy="1656000"/>
          </a:xfrm>
          <a:solidFill>
            <a:schemeClr val="bg1">
              <a:lumMod val="95000"/>
            </a:schemeClr>
          </a:solidFill>
        </p:spPr>
        <p:txBody>
          <a:bodyPr/>
          <a:lstStyle/>
          <a:p>
            <a:r>
              <a:rPr lang="en-US"/>
              <a:t>Click icon to add picture</a:t>
            </a:r>
            <a:endParaRPr lang="de-DE" dirty="0"/>
          </a:p>
        </p:txBody>
      </p:sp>
      <p:sp>
        <p:nvSpPr>
          <p:cNvPr id="4" name="Datumsplatzhalter 3">
            <a:extLst>
              <a:ext uri="{FF2B5EF4-FFF2-40B4-BE49-F238E27FC236}">
                <a16:creationId xmlns:a16="http://schemas.microsoft.com/office/drawing/2014/main" id="{911FADD1-A278-8537-AC91-8D93EBCB6A58}"/>
              </a:ext>
            </a:extLst>
          </p:cNvPr>
          <p:cNvSpPr>
            <a:spLocks noGrp="1"/>
          </p:cNvSpPr>
          <p:nvPr>
            <p:ph type="dt" sz="half" idx="50"/>
          </p:nvPr>
        </p:nvSpPr>
        <p:spPr bwMode="gray"/>
        <p:txBody>
          <a:bodyPr/>
          <a:lstStyle/>
          <a:p>
            <a:fld id="{9E2B9F34-56FA-484F-BF35-683BE469C0E3}" type="datetime1">
              <a:rPr lang="de-DE" smtClean="0"/>
              <a:pPr/>
              <a:t>30.11.2024</a:t>
            </a:fld>
            <a:endParaRPr lang="de-DE" dirty="0"/>
          </a:p>
        </p:txBody>
      </p:sp>
      <p:sp>
        <p:nvSpPr>
          <p:cNvPr id="5" name="Fußzeilenplatzhalter 4">
            <a:extLst>
              <a:ext uri="{FF2B5EF4-FFF2-40B4-BE49-F238E27FC236}">
                <a16:creationId xmlns:a16="http://schemas.microsoft.com/office/drawing/2014/main" id="{FC28C24E-DABA-4A08-9F11-3FAD56F6DF02}"/>
              </a:ext>
            </a:extLst>
          </p:cNvPr>
          <p:cNvSpPr>
            <a:spLocks noGrp="1"/>
          </p:cNvSpPr>
          <p:nvPr>
            <p:ph type="ftr" sz="quarter" idx="51"/>
          </p:nvPr>
        </p:nvSpPr>
        <p:spPr bwMode="gray"/>
        <p:txBody>
          <a:bodyPr/>
          <a:lstStyle/>
          <a:p>
            <a:r>
              <a:rPr lang="de-DE" dirty="0"/>
              <a:t>Unternehmenspräsentation</a:t>
            </a:r>
          </a:p>
        </p:txBody>
      </p:sp>
      <p:sp>
        <p:nvSpPr>
          <p:cNvPr id="8" name="Foliennummernplatzhalter 7">
            <a:extLst>
              <a:ext uri="{FF2B5EF4-FFF2-40B4-BE49-F238E27FC236}">
                <a16:creationId xmlns:a16="http://schemas.microsoft.com/office/drawing/2014/main" id="{2144F1D6-9F06-9A6D-8EF9-58C75ED52112}"/>
              </a:ext>
            </a:extLst>
          </p:cNvPr>
          <p:cNvSpPr>
            <a:spLocks noGrp="1"/>
          </p:cNvSpPr>
          <p:nvPr>
            <p:ph type="sldNum" sz="quarter" idx="52"/>
          </p:nvPr>
        </p:nvSpPr>
        <p:spPr bwMode="gray"/>
        <p:txBody>
          <a:bodyPr/>
          <a:lstStyle/>
          <a:p>
            <a:fld id="{1A2CFED3-8F6A-4617-95E5-25D21BE72BEB}" type="slidenum">
              <a:rPr lang="de-DE" smtClean="0"/>
              <a:pPr/>
              <a:t>‹#›</a:t>
            </a:fld>
            <a:endParaRPr lang="de-DE" dirty="0"/>
          </a:p>
        </p:txBody>
      </p:sp>
      <p:sp>
        <p:nvSpPr>
          <p:cNvPr id="9" name="Rechteck 8">
            <a:extLst>
              <a:ext uri="{FF2B5EF4-FFF2-40B4-BE49-F238E27FC236}">
                <a16:creationId xmlns:a16="http://schemas.microsoft.com/office/drawing/2014/main" id="{31F9F7E8-C43C-A32B-E5F6-3DA38CB9ECC5}"/>
              </a:ext>
            </a:extLst>
          </p:cNvPr>
          <p:cNvSpPr/>
          <p:nvPr userDrawn="1"/>
        </p:nvSpPr>
        <p:spPr bwMode="gray">
          <a:xfrm>
            <a:off x="0" y="6778800"/>
            <a:ext cx="12192000" cy="7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14" name="Titel 13">
            <a:extLst>
              <a:ext uri="{FF2B5EF4-FFF2-40B4-BE49-F238E27FC236}">
                <a16:creationId xmlns:a16="http://schemas.microsoft.com/office/drawing/2014/main" id="{4DF64EEE-7DEB-2152-32CF-B4F656E1D81E}"/>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
        <p:nvSpPr>
          <p:cNvPr id="16" name="Textplatzhalter 15">
            <a:extLst>
              <a:ext uri="{FF2B5EF4-FFF2-40B4-BE49-F238E27FC236}">
                <a16:creationId xmlns:a16="http://schemas.microsoft.com/office/drawing/2014/main" id="{EFEEF436-EBF6-9FE9-7528-ACFC4F28D0D2}"/>
              </a:ext>
            </a:extLst>
          </p:cNvPr>
          <p:cNvSpPr>
            <a:spLocks noGrp="1"/>
          </p:cNvSpPr>
          <p:nvPr>
            <p:ph type="body" sz="quarter" idx="53"/>
          </p:nvPr>
        </p:nvSpPr>
        <p:spPr bwMode="gray">
          <a:xfrm>
            <a:off x="695325" y="3263241"/>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17" name="Textplatzhalter 15">
            <a:extLst>
              <a:ext uri="{FF2B5EF4-FFF2-40B4-BE49-F238E27FC236}">
                <a16:creationId xmlns:a16="http://schemas.microsoft.com/office/drawing/2014/main" id="{364A8F27-FD7A-29BC-518F-1069F1702C45}"/>
              </a:ext>
            </a:extLst>
          </p:cNvPr>
          <p:cNvSpPr>
            <a:spLocks noGrp="1"/>
          </p:cNvSpPr>
          <p:nvPr>
            <p:ph type="body" sz="quarter" idx="54"/>
          </p:nvPr>
        </p:nvSpPr>
        <p:spPr bwMode="gray">
          <a:xfrm>
            <a:off x="695325" y="3490225"/>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18" name="Bildplatzhalter 8">
            <a:extLst>
              <a:ext uri="{FF2B5EF4-FFF2-40B4-BE49-F238E27FC236}">
                <a16:creationId xmlns:a16="http://schemas.microsoft.com/office/drawing/2014/main" id="{C99060B6-1B56-E5E8-8838-78880D80F353}"/>
              </a:ext>
            </a:extLst>
          </p:cNvPr>
          <p:cNvSpPr>
            <a:spLocks noGrp="1" noChangeAspect="1"/>
          </p:cNvSpPr>
          <p:nvPr>
            <p:ph type="pic" sz="quarter" idx="55"/>
          </p:nvPr>
        </p:nvSpPr>
        <p:spPr bwMode="gray">
          <a:xfrm>
            <a:off x="9840675" y="1556792"/>
            <a:ext cx="1656000" cy="1656000"/>
          </a:xfrm>
          <a:solidFill>
            <a:schemeClr val="bg1">
              <a:lumMod val="95000"/>
            </a:schemeClr>
          </a:solidFill>
        </p:spPr>
        <p:txBody>
          <a:bodyPr/>
          <a:lstStyle/>
          <a:p>
            <a:r>
              <a:rPr lang="en-US"/>
              <a:t>Click icon to add picture</a:t>
            </a:r>
            <a:endParaRPr lang="de-DE" dirty="0"/>
          </a:p>
        </p:txBody>
      </p:sp>
      <p:sp>
        <p:nvSpPr>
          <p:cNvPr id="20" name="Textplatzhalter 15">
            <a:extLst>
              <a:ext uri="{FF2B5EF4-FFF2-40B4-BE49-F238E27FC236}">
                <a16:creationId xmlns:a16="http://schemas.microsoft.com/office/drawing/2014/main" id="{426871C6-6EA6-2AF5-145E-37E82029D0C7}"/>
              </a:ext>
            </a:extLst>
          </p:cNvPr>
          <p:cNvSpPr>
            <a:spLocks noGrp="1"/>
          </p:cNvSpPr>
          <p:nvPr>
            <p:ph type="body" sz="quarter" idx="56"/>
          </p:nvPr>
        </p:nvSpPr>
        <p:spPr bwMode="gray">
          <a:xfrm>
            <a:off x="9840675" y="3263241"/>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1" name="Textplatzhalter 15">
            <a:extLst>
              <a:ext uri="{FF2B5EF4-FFF2-40B4-BE49-F238E27FC236}">
                <a16:creationId xmlns:a16="http://schemas.microsoft.com/office/drawing/2014/main" id="{AD37E5E0-A5AC-F41B-31C2-00AD8C49652C}"/>
              </a:ext>
            </a:extLst>
          </p:cNvPr>
          <p:cNvSpPr>
            <a:spLocks noGrp="1"/>
          </p:cNvSpPr>
          <p:nvPr>
            <p:ph type="body" sz="quarter" idx="57"/>
          </p:nvPr>
        </p:nvSpPr>
        <p:spPr bwMode="gray">
          <a:xfrm>
            <a:off x="9840675" y="3490225"/>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2" name="Bildplatzhalter 8">
            <a:extLst>
              <a:ext uri="{FF2B5EF4-FFF2-40B4-BE49-F238E27FC236}">
                <a16:creationId xmlns:a16="http://schemas.microsoft.com/office/drawing/2014/main" id="{F7DBAD05-F5A2-5599-7BDE-23B8B0A43B34}"/>
              </a:ext>
            </a:extLst>
          </p:cNvPr>
          <p:cNvSpPr>
            <a:spLocks noGrp="1" noChangeAspect="1"/>
          </p:cNvSpPr>
          <p:nvPr>
            <p:ph type="pic" sz="quarter" idx="58"/>
          </p:nvPr>
        </p:nvSpPr>
        <p:spPr bwMode="gray">
          <a:xfrm>
            <a:off x="7554337" y="1556792"/>
            <a:ext cx="1656000" cy="1656000"/>
          </a:xfrm>
          <a:solidFill>
            <a:schemeClr val="bg1">
              <a:lumMod val="95000"/>
            </a:schemeClr>
          </a:solidFill>
        </p:spPr>
        <p:txBody>
          <a:bodyPr/>
          <a:lstStyle/>
          <a:p>
            <a:r>
              <a:rPr lang="en-US"/>
              <a:t>Click icon to add picture</a:t>
            </a:r>
            <a:endParaRPr lang="de-DE" dirty="0"/>
          </a:p>
        </p:txBody>
      </p:sp>
      <p:sp>
        <p:nvSpPr>
          <p:cNvPr id="23" name="Textplatzhalter 15">
            <a:extLst>
              <a:ext uri="{FF2B5EF4-FFF2-40B4-BE49-F238E27FC236}">
                <a16:creationId xmlns:a16="http://schemas.microsoft.com/office/drawing/2014/main" id="{B69AE650-0FF3-B23A-3CD9-564A7CC123E5}"/>
              </a:ext>
            </a:extLst>
          </p:cNvPr>
          <p:cNvSpPr>
            <a:spLocks noGrp="1"/>
          </p:cNvSpPr>
          <p:nvPr>
            <p:ph type="body" sz="quarter" idx="59"/>
          </p:nvPr>
        </p:nvSpPr>
        <p:spPr bwMode="gray">
          <a:xfrm>
            <a:off x="7554337" y="3263241"/>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4" name="Textplatzhalter 15">
            <a:extLst>
              <a:ext uri="{FF2B5EF4-FFF2-40B4-BE49-F238E27FC236}">
                <a16:creationId xmlns:a16="http://schemas.microsoft.com/office/drawing/2014/main" id="{FCFE835B-7D96-8EAC-E3F5-40335EDEF0B7}"/>
              </a:ext>
            </a:extLst>
          </p:cNvPr>
          <p:cNvSpPr>
            <a:spLocks noGrp="1"/>
          </p:cNvSpPr>
          <p:nvPr>
            <p:ph type="body" sz="quarter" idx="60"/>
          </p:nvPr>
        </p:nvSpPr>
        <p:spPr bwMode="gray">
          <a:xfrm>
            <a:off x="7554337" y="3490225"/>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5" name="Bildplatzhalter 8">
            <a:extLst>
              <a:ext uri="{FF2B5EF4-FFF2-40B4-BE49-F238E27FC236}">
                <a16:creationId xmlns:a16="http://schemas.microsoft.com/office/drawing/2014/main" id="{05EF63E0-C9EB-A9F7-11CA-C174F0594DCA}"/>
              </a:ext>
            </a:extLst>
          </p:cNvPr>
          <p:cNvSpPr>
            <a:spLocks noGrp="1" noChangeAspect="1"/>
          </p:cNvSpPr>
          <p:nvPr>
            <p:ph type="pic" sz="quarter" idx="61"/>
          </p:nvPr>
        </p:nvSpPr>
        <p:spPr bwMode="gray">
          <a:xfrm>
            <a:off x="5268000" y="1556792"/>
            <a:ext cx="1656000" cy="1656000"/>
          </a:xfrm>
          <a:solidFill>
            <a:schemeClr val="bg1">
              <a:lumMod val="95000"/>
            </a:schemeClr>
          </a:solidFill>
        </p:spPr>
        <p:txBody>
          <a:bodyPr/>
          <a:lstStyle/>
          <a:p>
            <a:r>
              <a:rPr lang="en-US"/>
              <a:t>Click icon to add picture</a:t>
            </a:r>
            <a:endParaRPr lang="de-DE" dirty="0"/>
          </a:p>
        </p:txBody>
      </p:sp>
      <p:sp>
        <p:nvSpPr>
          <p:cNvPr id="26" name="Textplatzhalter 15">
            <a:extLst>
              <a:ext uri="{FF2B5EF4-FFF2-40B4-BE49-F238E27FC236}">
                <a16:creationId xmlns:a16="http://schemas.microsoft.com/office/drawing/2014/main" id="{A5756C37-3FBD-AF06-9A41-109E515C5F8A}"/>
              </a:ext>
            </a:extLst>
          </p:cNvPr>
          <p:cNvSpPr>
            <a:spLocks noGrp="1"/>
          </p:cNvSpPr>
          <p:nvPr>
            <p:ph type="body" sz="quarter" idx="62"/>
          </p:nvPr>
        </p:nvSpPr>
        <p:spPr bwMode="gray">
          <a:xfrm>
            <a:off x="5268000" y="3263241"/>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7" name="Textplatzhalter 15">
            <a:extLst>
              <a:ext uri="{FF2B5EF4-FFF2-40B4-BE49-F238E27FC236}">
                <a16:creationId xmlns:a16="http://schemas.microsoft.com/office/drawing/2014/main" id="{EEF6CF88-FC7F-3332-16E3-D5623FF0340C}"/>
              </a:ext>
            </a:extLst>
          </p:cNvPr>
          <p:cNvSpPr>
            <a:spLocks noGrp="1"/>
          </p:cNvSpPr>
          <p:nvPr>
            <p:ph type="body" sz="quarter" idx="63"/>
          </p:nvPr>
        </p:nvSpPr>
        <p:spPr bwMode="gray">
          <a:xfrm>
            <a:off x="5268000" y="3490225"/>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28" name="Bildplatzhalter 8">
            <a:extLst>
              <a:ext uri="{FF2B5EF4-FFF2-40B4-BE49-F238E27FC236}">
                <a16:creationId xmlns:a16="http://schemas.microsoft.com/office/drawing/2014/main" id="{7FCB7D70-9F5A-184C-9577-442157B22F62}"/>
              </a:ext>
            </a:extLst>
          </p:cNvPr>
          <p:cNvSpPr>
            <a:spLocks noGrp="1" noChangeAspect="1"/>
          </p:cNvSpPr>
          <p:nvPr>
            <p:ph type="pic" sz="quarter" idx="64"/>
          </p:nvPr>
        </p:nvSpPr>
        <p:spPr bwMode="gray">
          <a:xfrm>
            <a:off x="2981663" y="1556792"/>
            <a:ext cx="1656000" cy="1656000"/>
          </a:xfrm>
          <a:solidFill>
            <a:schemeClr val="bg1">
              <a:lumMod val="95000"/>
            </a:schemeClr>
          </a:solidFill>
        </p:spPr>
        <p:txBody>
          <a:bodyPr/>
          <a:lstStyle/>
          <a:p>
            <a:r>
              <a:rPr lang="en-US"/>
              <a:t>Click icon to add picture</a:t>
            </a:r>
            <a:endParaRPr lang="de-DE" dirty="0"/>
          </a:p>
        </p:txBody>
      </p:sp>
      <p:sp>
        <p:nvSpPr>
          <p:cNvPr id="29" name="Textplatzhalter 15">
            <a:extLst>
              <a:ext uri="{FF2B5EF4-FFF2-40B4-BE49-F238E27FC236}">
                <a16:creationId xmlns:a16="http://schemas.microsoft.com/office/drawing/2014/main" id="{4A87893F-D773-740A-3ABE-325E6DC1F88F}"/>
              </a:ext>
            </a:extLst>
          </p:cNvPr>
          <p:cNvSpPr>
            <a:spLocks noGrp="1"/>
          </p:cNvSpPr>
          <p:nvPr>
            <p:ph type="body" sz="quarter" idx="65"/>
          </p:nvPr>
        </p:nvSpPr>
        <p:spPr bwMode="gray">
          <a:xfrm>
            <a:off x="2981663" y="3263241"/>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0" name="Textplatzhalter 15">
            <a:extLst>
              <a:ext uri="{FF2B5EF4-FFF2-40B4-BE49-F238E27FC236}">
                <a16:creationId xmlns:a16="http://schemas.microsoft.com/office/drawing/2014/main" id="{D57C65A9-914E-41A3-D354-EABB682EEB98}"/>
              </a:ext>
            </a:extLst>
          </p:cNvPr>
          <p:cNvSpPr>
            <a:spLocks noGrp="1"/>
          </p:cNvSpPr>
          <p:nvPr>
            <p:ph type="body" sz="quarter" idx="66"/>
          </p:nvPr>
        </p:nvSpPr>
        <p:spPr bwMode="gray">
          <a:xfrm>
            <a:off x="2981663" y="3490225"/>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1" name="Bildplatzhalter 8">
            <a:extLst>
              <a:ext uri="{FF2B5EF4-FFF2-40B4-BE49-F238E27FC236}">
                <a16:creationId xmlns:a16="http://schemas.microsoft.com/office/drawing/2014/main" id="{7F3480E0-F1EE-3DFD-14BB-874EABE2FF4C}"/>
              </a:ext>
            </a:extLst>
          </p:cNvPr>
          <p:cNvSpPr>
            <a:spLocks noGrp="1" noChangeAspect="1"/>
          </p:cNvSpPr>
          <p:nvPr>
            <p:ph type="pic" sz="quarter" idx="67"/>
          </p:nvPr>
        </p:nvSpPr>
        <p:spPr bwMode="gray">
          <a:xfrm>
            <a:off x="695325" y="3943104"/>
            <a:ext cx="1656000" cy="1656000"/>
          </a:xfrm>
          <a:solidFill>
            <a:schemeClr val="bg1">
              <a:lumMod val="95000"/>
            </a:schemeClr>
          </a:solidFill>
        </p:spPr>
        <p:txBody>
          <a:bodyPr/>
          <a:lstStyle/>
          <a:p>
            <a:r>
              <a:rPr lang="en-US"/>
              <a:t>Click icon to add picture</a:t>
            </a:r>
            <a:endParaRPr lang="de-DE" dirty="0"/>
          </a:p>
        </p:txBody>
      </p:sp>
      <p:sp>
        <p:nvSpPr>
          <p:cNvPr id="32" name="Textplatzhalter 15">
            <a:extLst>
              <a:ext uri="{FF2B5EF4-FFF2-40B4-BE49-F238E27FC236}">
                <a16:creationId xmlns:a16="http://schemas.microsoft.com/office/drawing/2014/main" id="{215DB442-1161-1DA4-C5A1-1BC80ACD5906}"/>
              </a:ext>
            </a:extLst>
          </p:cNvPr>
          <p:cNvSpPr>
            <a:spLocks noGrp="1"/>
          </p:cNvSpPr>
          <p:nvPr>
            <p:ph type="body" sz="quarter" idx="68"/>
          </p:nvPr>
        </p:nvSpPr>
        <p:spPr bwMode="gray">
          <a:xfrm>
            <a:off x="695325" y="5649553"/>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3" name="Textplatzhalter 15">
            <a:extLst>
              <a:ext uri="{FF2B5EF4-FFF2-40B4-BE49-F238E27FC236}">
                <a16:creationId xmlns:a16="http://schemas.microsoft.com/office/drawing/2014/main" id="{B90F9FE2-DA80-02B3-509F-97F3CD64D416}"/>
              </a:ext>
            </a:extLst>
          </p:cNvPr>
          <p:cNvSpPr>
            <a:spLocks noGrp="1"/>
          </p:cNvSpPr>
          <p:nvPr>
            <p:ph type="body" sz="quarter" idx="69"/>
          </p:nvPr>
        </p:nvSpPr>
        <p:spPr bwMode="gray">
          <a:xfrm>
            <a:off x="695325" y="5876537"/>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4" name="Bildplatzhalter 8">
            <a:extLst>
              <a:ext uri="{FF2B5EF4-FFF2-40B4-BE49-F238E27FC236}">
                <a16:creationId xmlns:a16="http://schemas.microsoft.com/office/drawing/2014/main" id="{E0D5441D-467C-0816-865D-3F15011B0A84}"/>
              </a:ext>
            </a:extLst>
          </p:cNvPr>
          <p:cNvSpPr>
            <a:spLocks noGrp="1" noChangeAspect="1"/>
          </p:cNvSpPr>
          <p:nvPr>
            <p:ph type="pic" sz="quarter" idx="70"/>
          </p:nvPr>
        </p:nvSpPr>
        <p:spPr bwMode="gray">
          <a:xfrm>
            <a:off x="9840675" y="3943104"/>
            <a:ext cx="1656000" cy="1656000"/>
          </a:xfrm>
          <a:solidFill>
            <a:schemeClr val="bg1">
              <a:lumMod val="95000"/>
            </a:schemeClr>
          </a:solidFill>
        </p:spPr>
        <p:txBody>
          <a:bodyPr/>
          <a:lstStyle/>
          <a:p>
            <a:r>
              <a:rPr lang="en-US"/>
              <a:t>Click icon to add picture</a:t>
            </a:r>
            <a:endParaRPr lang="de-DE" dirty="0"/>
          </a:p>
        </p:txBody>
      </p:sp>
      <p:sp>
        <p:nvSpPr>
          <p:cNvPr id="35" name="Textplatzhalter 15">
            <a:extLst>
              <a:ext uri="{FF2B5EF4-FFF2-40B4-BE49-F238E27FC236}">
                <a16:creationId xmlns:a16="http://schemas.microsoft.com/office/drawing/2014/main" id="{5F4EEFA4-7093-7C5C-CF1C-2D710F3C1210}"/>
              </a:ext>
            </a:extLst>
          </p:cNvPr>
          <p:cNvSpPr>
            <a:spLocks noGrp="1"/>
          </p:cNvSpPr>
          <p:nvPr>
            <p:ph type="body" sz="quarter" idx="71"/>
          </p:nvPr>
        </p:nvSpPr>
        <p:spPr bwMode="gray">
          <a:xfrm>
            <a:off x="9840675" y="5649553"/>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6" name="Textplatzhalter 15">
            <a:extLst>
              <a:ext uri="{FF2B5EF4-FFF2-40B4-BE49-F238E27FC236}">
                <a16:creationId xmlns:a16="http://schemas.microsoft.com/office/drawing/2014/main" id="{AD24FA84-C0EC-2BE6-54EC-FB346847F70E}"/>
              </a:ext>
            </a:extLst>
          </p:cNvPr>
          <p:cNvSpPr>
            <a:spLocks noGrp="1"/>
          </p:cNvSpPr>
          <p:nvPr>
            <p:ph type="body" sz="quarter" idx="72"/>
          </p:nvPr>
        </p:nvSpPr>
        <p:spPr bwMode="gray">
          <a:xfrm>
            <a:off x="9840675" y="5876537"/>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7" name="Bildplatzhalter 8">
            <a:extLst>
              <a:ext uri="{FF2B5EF4-FFF2-40B4-BE49-F238E27FC236}">
                <a16:creationId xmlns:a16="http://schemas.microsoft.com/office/drawing/2014/main" id="{FC8C3184-4126-346A-88ED-11EE30D0E5B5}"/>
              </a:ext>
            </a:extLst>
          </p:cNvPr>
          <p:cNvSpPr>
            <a:spLocks noGrp="1" noChangeAspect="1"/>
          </p:cNvSpPr>
          <p:nvPr>
            <p:ph type="pic" sz="quarter" idx="73"/>
          </p:nvPr>
        </p:nvSpPr>
        <p:spPr bwMode="gray">
          <a:xfrm>
            <a:off x="7554337" y="3943104"/>
            <a:ext cx="1656000" cy="1656000"/>
          </a:xfrm>
          <a:solidFill>
            <a:schemeClr val="bg1">
              <a:lumMod val="95000"/>
            </a:schemeClr>
          </a:solidFill>
        </p:spPr>
        <p:txBody>
          <a:bodyPr/>
          <a:lstStyle/>
          <a:p>
            <a:r>
              <a:rPr lang="en-US"/>
              <a:t>Click icon to add picture</a:t>
            </a:r>
            <a:endParaRPr lang="de-DE" dirty="0"/>
          </a:p>
        </p:txBody>
      </p:sp>
      <p:sp>
        <p:nvSpPr>
          <p:cNvPr id="38" name="Textplatzhalter 15">
            <a:extLst>
              <a:ext uri="{FF2B5EF4-FFF2-40B4-BE49-F238E27FC236}">
                <a16:creationId xmlns:a16="http://schemas.microsoft.com/office/drawing/2014/main" id="{C6DE8CFB-2B6D-4693-5660-FC730424C090}"/>
              </a:ext>
            </a:extLst>
          </p:cNvPr>
          <p:cNvSpPr>
            <a:spLocks noGrp="1"/>
          </p:cNvSpPr>
          <p:nvPr>
            <p:ph type="body" sz="quarter" idx="74"/>
          </p:nvPr>
        </p:nvSpPr>
        <p:spPr bwMode="gray">
          <a:xfrm>
            <a:off x="7554337" y="5649553"/>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39" name="Textplatzhalter 15">
            <a:extLst>
              <a:ext uri="{FF2B5EF4-FFF2-40B4-BE49-F238E27FC236}">
                <a16:creationId xmlns:a16="http://schemas.microsoft.com/office/drawing/2014/main" id="{07967449-D89E-8F54-CA65-B9E6296718A3}"/>
              </a:ext>
            </a:extLst>
          </p:cNvPr>
          <p:cNvSpPr>
            <a:spLocks noGrp="1"/>
          </p:cNvSpPr>
          <p:nvPr>
            <p:ph type="body" sz="quarter" idx="75"/>
          </p:nvPr>
        </p:nvSpPr>
        <p:spPr bwMode="gray">
          <a:xfrm>
            <a:off x="7554337" y="5876537"/>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40" name="Bildplatzhalter 8">
            <a:extLst>
              <a:ext uri="{FF2B5EF4-FFF2-40B4-BE49-F238E27FC236}">
                <a16:creationId xmlns:a16="http://schemas.microsoft.com/office/drawing/2014/main" id="{B6DA3C28-423D-9C3D-9F4C-E4199B5212F9}"/>
              </a:ext>
            </a:extLst>
          </p:cNvPr>
          <p:cNvSpPr>
            <a:spLocks noGrp="1" noChangeAspect="1"/>
          </p:cNvSpPr>
          <p:nvPr>
            <p:ph type="pic" sz="quarter" idx="76"/>
          </p:nvPr>
        </p:nvSpPr>
        <p:spPr bwMode="gray">
          <a:xfrm>
            <a:off x="5268000" y="3943104"/>
            <a:ext cx="1656000" cy="1656000"/>
          </a:xfrm>
          <a:solidFill>
            <a:schemeClr val="bg1">
              <a:lumMod val="95000"/>
            </a:schemeClr>
          </a:solidFill>
        </p:spPr>
        <p:txBody>
          <a:bodyPr/>
          <a:lstStyle/>
          <a:p>
            <a:r>
              <a:rPr lang="en-US"/>
              <a:t>Click icon to add picture</a:t>
            </a:r>
            <a:endParaRPr lang="de-DE" dirty="0"/>
          </a:p>
        </p:txBody>
      </p:sp>
      <p:sp>
        <p:nvSpPr>
          <p:cNvPr id="41" name="Textplatzhalter 15">
            <a:extLst>
              <a:ext uri="{FF2B5EF4-FFF2-40B4-BE49-F238E27FC236}">
                <a16:creationId xmlns:a16="http://schemas.microsoft.com/office/drawing/2014/main" id="{4CC36D70-199F-881D-90F1-53F196ACFF21}"/>
              </a:ext>
            </a:extLst>
          </p:cNvPr>
          <p:cNvSpPr>
            <a:spLocks noGrp="1"/>
          </p:cNvSpPr>
          <p:nvPr>
            <p:ph type="body" sz="quarter" idx="77"/>
          </p:nvPr>
        </p:nvSpPr>
        <p:spPr bwMode="gray">
          <a:xfrm>
            <a:off x="5268000" y="5649553"/>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42" name="Textplatzhalter 15">
            <a:extLst>
              <a:ext uri="{FF2B5EF4-FFF2-40B4-BE49-F238E27FC236}">
                <a16:creationId xmlns:a16="http://schemas.microsoft.com/office/drawing/2014/main" id="{2926500F-42C7-90FC-EB51-B862472FA8E9}"/>
              </a:ext>
            </a:extLst>
          </p:cNvPr>
          <p:cNvSpPr>
            <a:spLocks noGrp="1"/>
          </p:cNvSpPr>
          <p:nvPr>
            <p:ph type="body" sz="quarter" idx="78"/>
          </p:nvPr>
        </p:nvSpPr>
        <p:spPr bwMode="gray">
          <a:xfrm>
            <a:off x="5268000" y="5876537"/>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43" name="Bildplatzhalter 8">
            <a:extLst>
              <a:ext uri="{FF2B5EF4-FFF2-40B4-BE49-F238E27FC236}">
                <a16:creationId xmlns:a16="http://schemas.microsoft.com/office/drawing/2014/main" id="{9014E52C-B2F0-51DB-C744-E68D18AA31E4}"/>
              </a:ext>
            </a:extLst>
          </p:cNvPr>
          <p:cNvSpPr>
            <a:spLocks noGrp="1" noChangeAspect="1"/>
          </p:cNvSpPr>
          <p:nvPr>
            <p:ph type="pic" sz="quarter" idx="79"/>
          </p:nvPr>
        </p:nvSpPr>
        <p:spPr bwMode="gray">
          <a:xfrm>
            <a:off x="2981663" y="3943104"/>
            <a:ext cx="1656000" cy="1656000"/>
          </a:xfrm>
          <a:solidFill>
            <a:schemeClr val="bg1">
              <a:lumMod val="95000"/>
            </a:schemeClr>
          </a:solidFill>
        </p:spPr>
        <p:txBody>
          <a:bodyPr/>
          <a:lstStyle/>
          <a:p>
            <a:r>
              <a:rPr lang="en-US"/>
              <a:t>Click icon to add picture</a:t>
            </a:r>
            <a:endParaRPr lang="de-DE" dirty="0"/>
          </a:p>
        </p:txBody>
      </p:sp>
      <p:sp>
        <p:nvSpPr>
          <p:cNvPr id="44" name="Textplatzhalter 15">
            <a:extLst>
              <a:ext uri="{FF2B5EF4-FFF2-40B4-BE49-F238E27FC236}">
                <a16:creationId xmlns:a16="http://schemas.microsoft.com/office/drawing/2014/main" id="{D68745DE-71DA-102D-DBAA-4E4AA86AD968}"/>
              </a:ext>
            </a:extLst>
          </p:cNvPr>
          <p:cNvSpPr>
            <a:spLocks noGrp="1"/>
          </p:cNvSpPr>
          <p:nvPr>
            <p:ph type="body" sz="quarter" idx="80"/>
          </p:nvPr>
        </p:nvSpPr>
        <p:spPr bwMode="gray">
          <a:xfrm>
            <a:off x="2981663" y="5649553"/>
            <a:ext cx="1728000" cy="216000"/>
          </a:xfrm>
        </p:spPr>
        <p:txBody>
          <a:bodyPr/>
          <a:lstStyle>
            <a:lvl1pPr>
              <a:lnSpc>
                <a:spcPct val="98000"/>
              </a:lnSpc>
              <a:spcBef>
                <a:spcPts val="0"/>
              </a:spcBef>
              <a:spcAft>
                <a:spcPts val="0"/>
              </a:spcAft>
              <a:defRPr sz="1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
        <p:nvSpPr>
          <p:cNvPr id="72" name="Textplatzhalter 15">
            <a:extLst>
              <a:ext uri="{FF2B5EF4-FFF2-40B4-BE49-F238E27FC236}">
                <a16:creationId xmlns:a16="http://schemas.microsoft.com/office/drawing/2014/main" id="{DC7D39D1-1535-3B26-4561-624426B03EEF}"/>
              </a:ext>
            </a:extLst>
          </p:cNvPr>
          <p:cNvSpPr>
            <a:spLocks noGrp="1"/>
          </p:cNvSpPr>
          <p:nvPr>
            <p:ph type="body" sz="quarter" idx="81"/>
          </p:nvPr>
        </p:nvSpPr>
        <p:spPr bwMode="gray">
          <a:xfrm>
            <a:off x="2981663" y="5876537"/>
            <a:ext cx="1728000" cy="216000"/>
          </a:xfrm>
        </p:spPr>
        <p:txBody>
          <a:bodyPr/>
          <a:lstStyle>
            <a:lvl1pPr>
              <a:lnSpc>
                <a:spcPct val="98000"/>
              </a:lnSpc>
              <a:spcBef>
                <a:spcPts val="0"/>
              </a:spcBef>
              <a:spcAft>
                <a:spcPts val="0"/>
              </a:spcAft>
              <a:defRPr sz="14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Tree>
    <p:extLst>
      <p:ext uri="{BB962C8B-B14F-4D97-AF65-F5344CB8AC3E}">
        <p14:creationId xmlns:p14="http://schemas.microsoft.com/office/powerpoint/2010/main" val="2059845904"/>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agramme">
    <p:bg>
      <p:bgPr>
        <a:solidFill>
          <a:schemeClr val="accent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730C8E6-C12C-34F9-BB33-B1A08B0CFE36}"/>
              </a:ext>
            </a:extLst>
          </p:cNvPr>
          <p:cNvSpPr txBox="1"/>
          <p:nvPr userDrawn="1"/>
        </p:nvSpPr>
        <p:spPr>
          <a:xfrm>
            <a:off x="695325" y="2996952"/>
            <a:ext cx="10801350" cy="864096"/>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300"/>
              </a:spcBef>
              <a:spcAft>
                <a:spcPts val="300"/>
              </a:spcAft>
              <a:buClrTx/>
              <a:buSzTx/>
              <a:buFontTx/>
              <a:buNone/>
              <a:tabLst/>
            </a:pPr>
            <a:r>
              <a:rPr kumimoji="0" lang="de-DE" sz="9600" b="0" i="0" u="none" strike="noStrike" kern="1200" cap="none" spc="40" normalizeH="0" baseline="0" noProof="0" dirty="0">
                <a:ln>
                  <a:noFill/>
                </a:ln>
                <a:solidFill>
                  <a:schemeClr val="bg1"/>
                </a:solidFill>
                <a:effectLst/>
                <a:uLnTx/>
                <a:uFillTx/>
                <a:latin typeface="+mj-lt"/>
                <a:ea typeface="+mn-ea"/>
                <a:cs typeface="+mn-cs"/>
              </a:rPr>
              <a:t>Diagramme</a:t>
            </a:r>
          </a:p>
        </p:txBody>
      </p:sp>
      <p:pic>
        <p:nvPicPr>
          <p:cNvPr id="2" name="Grafik 1">
            <a:extLst>
              <a:ext uri="{FF2B5EF4-FFF2-40B4-BE49-F238E27FC236}">
                <a16:creationId xmlns:a16="http://schemas.microsoft.com/office/drawing/2014/main" id="{B14EE0A0-AAB4-961A-B889-8D24EE13B7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613601" y="553447"/>
            <a:ext cx="918000" cy="209082"/>
          </a:xfrm>
          <a:prstGeom prst="rect">
            <a:avLst/>
          </a:prstGeom>
        </p:spPr>
      </p:pic>
    </p:spTree>
    <p:extLst>
      <p:ext uri="{BB962C8B-B14F-4D97-AF65-F5344CB8AC3E}">
        <p14:creationId xmlns:p14="http://schemas.microsoft.com/office/powerpoint/2010/main" val="19010912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6">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4" name="Untertitel 2">
            <a:extLst>
              <a:ext uri="{FF2B5EF4-FFF2-40B4-BE49-F238E27FC236}">
                <a16:creationId xmlns:a16="http://schemas.microsoft.com/office/drawing/2014/main" id="{BE987C8D-600E-9043-3AFA-296CBCCE53E0}"/>
              </a:ext>
            </a:extLst>
          </p:cNvPr>
          <p:cNvSpPr>
            <a:spLocks noGrp="1"/>
          </p:cNvSpPr>
          <p:nvPr>
            <p:ph type="subTitle" idx="1" hasCustomPrompt="1"/>
          </p:nvPr>
        </p:nvSpPr>
        <p:spPr bwMode="black">
          <a:xfrm>
            <a:off x="695325" y="5240858"/>
            <a:ext cx="6984851" cy="360000"/>
          </a:xfrm>
        </p:spPr>
        <p:txBody>
          <a:bodyPr/>
          <a:lstStyle>
            <a:lvl1pPr marL="0" indent="0" algn="l">
              <a:spcBef>
                <a:spcPts val="0"/>
              </a:spcBef>
              <a:spcAft>
                <a:spcPts val="0"/>
              </a:spcAft>
              <a:buNone/>
              <a:defRPr sz="2400" cap="none" baseline="0">
                <a:solidFill>
                  <a:srgbClr val="2DFA8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Software Engineering  |  Digitale Transformation</a:t>
            </a:r>
          </a:p>
          <a:p>
            <a:endParaRPr lang="de-DE" dirty="0"/>
          </a:p>
        </p:txBody>
      </p:sp>
      <p:sp>
        <p:nvSpPr>
          <p:cNvPr id="5" name="Textplatzhalter 2">
            <a:extLst>
              <a:ext uri="{FF2B5EF4-FFF2-40B4-BE49-F238E27FC236}">
                <a16:creationId xmlns:a16="http://schemas.microsoft.com/office/drawing/2014/main" id="{DD1E4018-114F-0DDB-12BD-4B79C44BA158}"/>
              </a:ext>
            </a:extLst>
          </p:cNvPr>
          <p:cNvSpPr>
            <a:spLocks noGrp="1"/>
          </p:cNvSpPr>
          <p:nvPr>
            <p:ph type="body" idx="13"/>
          </p:nvPr>
        </p:nvSpPr>
        <p:spPr bwMode="black">
          <a:xfrm>
            <a:off x="720000" y="5759999"/>
            <a:ext cx="6455324" cy="205983"/>
          </a:xfrm>
        </p:spPr>
        <p:txBody>
          <a:bodyPr anchor="t"/>
          <a:lstStyle>
            <a:lvl1pPr marL="0" indent="0">
              <a:spcBef>
                <a:spcPts val="0"/>
              </a:spcBef>
              <a:spcAft>
                <a:spcPts val="0"/>
              </a:spcAft>
              <a:buNone/>
              <a:defRPr sz="1400" b="0" cap="none" spc="12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695325" y="548680"/>
            <a:ext cx="912923" cy="210675"/>
          </a:xfrm>
          <a:prstGeom prst="rect">
            <a:avLst/>
          </a:prstGeom>
        </p:spPr>
      </p:pic>
      <p:pic>
        <p:nvPicPr>
          <p:cNvPr id="2" name="Grafik 1">
            <a:extLst>
              <a:ext uri="{FF2B5EF4-FFF2-40B4-BE49-F238E27FC236}">
                <a16:creationId xmlns:a16="http://schemas.microsoft.com/office/drawing/2014/main" id="{4B673B21-3583-3D8A-CF7E-D8E028F1828D}"/>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0658"/>
          <a:stretch/>
        </p:blipFill>
        <p:spPr>
          <a:xfrm>
            <a:off x="9331457" y="-27384"/>
            <a:ext cx="2860543" cy="2412000"/>
          </a:xfrm>
          <a:prstGeom prst="rect">
            <a:avLst/>
          </a:prstGeom>
        </p:spPr>
      </p:pic>
      <p:sp>
        <p:nvSpPr>
          <p:cNvPr id="8" name="Bildplatzhalter 17">
            <a:extLst>
              <a:ext uri="{FF2B5EF4-FFF2-40B4-BE49-F238E27FC236}">
                <a16:creationId xmlns:a16="http://schemas.microsoft.com/office/drawing/2014/main" id="{F2BEB321-6AA8-1AB4-6A37-78624467CB42}"/>
              </a:ext>
            </a:extLst>
          </p:cNvPr>
          <p:cNvSpPr>
            <a:spLocks noGrp="1" noChangeAspect="1"/>
          </p:cNvSpPr>
          <p:nvPr>
            <p:ph type="pic" sz="quarter" idx="16"/>
          </p:nvPr>
        </p:nvSpPr>
        <p:spPr>
          <a:xfrm>
            <a:off x="7896200" y="1272359"/>
            <a:ext cx="3509056" cy="2332800"/>
          </a:xfrm>
          <a:custGeom>
            <a:avLst/>
            <a:gdLst>
              <a:gd name="connsiteX0" fmla="*/ 657846 w 3556819"/>
              <a:gd name="connsiteY0" fmla="*/ 0 h 2364553"/>
              <a:gd name="connsiteX1" fmla="*/ 3161367 w 3556819"/>
              <a:gd name="connsiteY1" fmla="*/ 0 h 2364553"/>
              <a:gd name="connsiteX2" fmla="*/ 3535310 w 3556819"/>
              <a:gd name="connsiteY2" fmla="*/ 521946 h 2364553"/>
              <a:gd name="connsiteX3" fmla="*/ 2898973 w 3556819"/>
              <a:gd name="connsiteY3" fmla="*/ 2364553 h 2364553"/>
              <a:gd name="connsiteX4" fmla="*/ 395451 w 3556819"/>
              <a:gd name="connsiteY4" fmla="*/ 2364553 h 2364553"/>
              <a:gd name="connsiteX5" fmla="*/ 21508 w 3556819"/>
              <a:gd name="connsiteY5" fmla="*/ 1842607 h 236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6819" h="2364553">
                <a:moveTo>
                  <a:pt x="657846" y="0"/>
                </a:moveTo>
                <a:lnTo>
                  <a:pt x="3161367" y="0"/>
                </a:lnTo>
                <a:cubicBezTo>
                  <a:pt x="3432635" y="0"/>
                  <a:pt x="3622776" y="266660"/>
                  <a:pt x="3535310" y="521946"/>
                </a:cubicBezTo>
                <a:lnTo>
                  <a:pt x="2898973" y="2364553"/>
                </a:lnTo>
                <a:lnTo>
                  <a:pt x="395451" y="2364553"/>
                </a:lnTo>
                <a:cubicBezTo>
                  <a:pt x="124184" y="2364553"/>
                  <a:pt x="-65957" y="2097893"/>
                  <a:pt x="21508" y="1842607"/>
                </a:cubicBezTo>
                <a:close/>
              </a:path>
            </a:pathLst>
          </a:custGeom>
          <a:noFill/>
          <a:ln w="50800">
            <a:solidFill>
              <a:srgbClr val="2DFA87"/>
            </a:solidFill>
          </a:ln>
        </p:spPr>
        <p:txBody>
          <a:bodyPr wrap="square">
            <a:noAutofit/>
          </a:bodyPr>
          <a:lstStyle/>
          <a:p>
            <a:r>
              <a:rPr lang="en-US"/>
              <a:t>Click icon to add picture</a:t>
            </a:r>
            <a:endParaRPr lang="de-DE" dirty="0"/>
          </a:p>
        </p:txBody>
      </p:sp>
    </p:spTree>
    <p:extLst>
      <p:ext uri="{BB962C8B-B14F-4D97-AF65-F5344CB8AC3E}">
        <p14:creationId xmlns:p14="http://schemas.microsoft.com/office/powerpoint/2010/main" val="19582526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12" name="Diagrammplatzhalter 10">
            <a:extLst>
              <a:ext uri="{FF2B5EF4-FFF2-40B4-BE49-F238E27FC236}">
                <a16:creationId xmlns:a16="http://schemas.microsoft.com/office/drawing/2014/main" id="{8254BFB1-BC07-F8A0-B605-4492420C6140}"/>
              </a:ext>
            </a:extLst>
          </p:cNvPr>
          <p:cNvSpPr>
            <a:spLocks noGrp="1"/>
          </p:cNvSpPr>
          <p:nvPr>
            <p:ph type="chart" sz="quarter" idx="14"/>
          </p:nvPr>
        </p:nvSpPr>
        <p:spPr bwMode="gray">
          <a:xfrm>
            <a:off x="695325" y="1844675"/>
            <a:ext cx="10800000" cy="4247998"/>
          </a:xfrm>
        </p:spPr>
        <p:txBody>
          <a:bodyPr/>
          <a:lstStyle>
            <a:lvl1pPr>
              <a:defRPr b="0" cap="all" baseline="0">
                <a:latin typeface="+mj-lt"/>
              </a:defRPr>
            </a:lvl1pPr>
          </a:lstStyle>
          <a:p>
            <a:r>
              <a:rPr lang="en-US"/>
              <a:t>Click icon to add chart</a:t>
            </a:r>
            <a:endParaRPr lang="de-DE" dirty="0"/>
          </a:p>
        </p:txBody>
      </p:sp>
      <p:sp>
        <p:nvSpPr>
          <p:cNvPr id="8" name="Textplatzhalter 2">
            <a:extLst>
              <a:ext uri="{FF2B5EF4-FFF2-40B4-BE49-F238E27FC236}">
                <a16:creationId xmlns:a16="http://schemas.microsoft.com/office/drawing/2014/main" id="{5D8A1612-BF54-991A-B540-8BDB55FA631F}"/>
              </a:ext>
            </a:extLst>
          </p:cNvPr>
          <p:cNvSpPr>
            <a:spLocks noGrp="1"/>
          </p:cNvSpPr>
          <p:nvPr>
            <p:ph type="body" idx="16" hasCustomPrompt="1"/>
          </p:nvPr>
        </p:nvSpPr>
        <p:spPr bwMode="gray">
          <a:xfrm>
            <a:off x="695324" y="6164725"/>
            <a:ext cx="10801351"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
        <p:nvSpPr>
          <p:cNvPr id="2" name="Datumsplatzhalter 1">
            <a:extLst>
              <a:ext uri="{FF2B5EF4-FFF2-40B4-BE49-F238E27FC236}">
                <a16:creationId xmlns:a16="http://schemas.microsoft.com/office/drawing/2014/main" id="{CD779266-7192-14CC-ED0C-DAEB48D0DB86}"/>
              </a:ext>
            </a:extLst>
          </p:cNvPr>
          <p:cNvSpPr>
            <a:spLocks noGrp="1"/>
          </p:cNvSpPr>
          <p:nvPr>
            <p:ph type="dt" sz="half" idx="17"/>
          </p:nvPr>
        </p:nvSpPr>
        <p:spPr bwMode="gray"/>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EDF88EB1-FEEE-53E7-33BE-B84F0E6AECD0}"/>
              </a:ext>
            </a:extLst>
          </p:cNvPr>
          <p:cNvSpPr>
            <a:spLocks noGrp="1"/>
          </p:cNvSpPr>
          <p:nvPr>
            <p:ph type="ftr" sz="quarter" idx="18"/>
          </p:nvPr>
        </p:nvSpPr>
        <p:spPr bwMode="gray"/>
        <p:txBody>
          <a:bodyPr/>
          <a:lstStyle/>
          <a:p>
            <a:r>
              <a:rPr lang="de-DE" dirty="0"/>
              <a:t>Unternehmenspräsentation</a:t>
            </a:r>
          </a:p>
        </p:txBody>
      </p:sp>
      <p:sp>
        <p:nvSpPr>
          <p:cNvPr id="10" name="Foliennummernplatzhalter 9">
            <a:extLst>
              <a:ext uri="{FF2B5EF4-FFF2-40B4-BE49-F238E27FC236}">
                <a16:creationId xmlns:a16="http://schemas.microsoft.com/office/drawing/2014/main" id="{F0D87D03-8BEF-B87C-12A9-4B0C266C17C3}"/>
              </a:ext>
            </a:extLst>
          </p:cNvPr>
          <p:cNvSpPr>
            <a:spLocks noGrp="1"/>
          </p:cNvSpPr>
          <p:nvPr>
            <p:ph type="sldNum" sz="quarter" idx="19"/>
          </p:nvPr>
        </p:nvSpPr>
        <p:spPr bwMode="gray"/>
        <p:txBody>
          <a:bodyPr/>
          <a:lstStyle/>
          <a:p>
            <a:fld id="{1A2CFED3-8F6A-4617-95E5-25D21BE72BEB}" type="slidenum">
              <a:rPr lang="de-DE" smtClean="0"/>
              <a:pPr/>
              <a:t>‹#›</a:t>
            </a:fld>
            <a:endParaRPr lang="de-DE" dirty="0"/>
          </a:p>
        </p:txBody>
      </p:sp>
      <p:sp>
        <p:nvSpPr>
          <p:cNvPr id="13" name="Titel 12">
            <a:extLst>
              <a:ext uri="{FF2B5EF4-FFF2-40B4-BE49-F238E27FC236}">
                <a16:creationId xmlns:a16="http://schemas.microsoft.com/office/drawing/2014/main" id="{575127F1-5E6D-DF9D-086B-66A16FBBC910}"/>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Tree>
    <p:extLst>
      <p:ext uri="{BB962C8B-B14F-4D97-AF65-F5344CB8AC3E}">
        <p14:creationId xmlns:p14="http://schemas.microsoft.com/office/powerpoint/2010/main" val="1413800866"/>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m + Text">
    <p:spTree>
      <p:nvGrpSpPr>
        <p:cNvPr id="1" name=""/>
        <p:cNvGrpSpPr/>
        <p:nvPr/>
      </p:nvGrpSpPr>
      <p:grpSpPr>
        <a:xfrm>
          <a:off x="0" y="0"/>
          <a:ext cx="0" cy="0"/>
          <a:chOff x="0" y="0"/>
          <a:chExt cx="0" cy="0"/>
        </a:xfrm>
      </p:grpSpPr>
      <p:sp>
        <p:nvSpPr>
          <p:cNvPr id="12" name="Diagrammplatzhalter 10">
            <a:extLst>
              <a:ext uri="{FF2B5EF4-FFF2-40B4-BE49-F238E27FC236}">
                <a16:creationId xmlns:a16="http://schemas.microsoft.com/office/drawing/2014/main" id="{8254BFB1-BC07-F8A0-B605-4492420C6140}"/>
              </a:ext>
            </a:extLst>
          </p:cNvPr>
          <p:cNvSpPr>
            <a:spLocks noGrp="1"/>
          </p:cNvSpPr>
          <p:nvPr>
            <p:ph type="chart" sz="quarter" idx="14"/>
          </p:nvPr>
        </p:nvSpPr>
        <p:spPr bwMode="gray">
          <a:xfrm>
            <a:off x="695325" y="1844675"/>
            <a:ext cx="6480000" cy="4248000"/>
          </a:xfrm>
        </p:spPr>
        <p:txBody>
          <a:bodyPr vert="horz" lIns="0" tIns="0" rIns="0" bIns="0" rtlCol="0">
            <a:noAutofit/>
          </a:bodyPr>
          <a:lstStyle>
            <a:lvl1pPr>
              <a:defRPr lang="de-DE" b="0" cap="all" baseline="0" dirty="0">
                <a:latin typeface="+mj-lt"/>
              </a:defRPr>
            </a:lvl1pPr>
          </a:lstStyle>
          <a:p>
            <a:pPr lvl="0"/>
            <a:r>
              <a:rPr lang="en-US"/>
              <a:t>Click icon to add chart</a:t>
            </a:r>
            <a:endParaRPr lang="de-DE" dirty="0"/>
          </a:p>
        </p:txBody>
      </p:sp>
      <p:sp>
        <p:nvSpPr>
          <p:cNvPr id="10" name="Inhaltsplatzhalter 9">
            <a:extLst>
              <a:ext uri="{FF2B5EF4-FFF2-40B4-BE49-F238E27FC236}">
                <a16:creationId xmlns:a16="http://schemas.microsoft.com/office/drawing/2014/main" id="{21970D9B-9DFC-DC6C-170E-FD1C06E80504}"/>
              </a:ext>
            </a:extLst>
          </p:cNvPr>
          <p:cNvSpPr>
            <a:spLocks noGrp="1"/>
          </p:cNvSpPr>
          <p:nvPr>
            <p:ph sz="quarter" idx="17"/>
          </p:nvPr>
        </p:nvSpPr>
        <p:spPr bwMode="gray">
          <a:xfrm>
            <a:off x="7536674" y="1844675"/>
            <a:ext cx="3960001"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Datumsplatzhalter 1">
            <a:extLst>
              <a:ext uri="{FF2B5EF4-FFF2-40B4-BE49-F238E27FC236}">
                <a16:creationId xmlns:a16="http://schemas.microsoft.com/office/drawing/2014/main" id="{53B17CB7-F7A9-60B6-7F38-6A908B60ED79}"/>
              </a:ext>
            </a:extLst>
          </p:cNvPr>
          <p:cNvSpPr>
            <a:spLocks noGrp="1"/>
          </p:cNvSpPr>
          <p:nvPr>
            <p:ph type="dt" sz="half" idx="18"/>
          </p:nvPr>
        </p:nvSpPr>
        <p:spPr bwMode="gray"/>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39FAB425-34D4-3353-2FEC-9DD48B12DB08}"/>
              </a:ext>
            </a:extLst>
          </p:cNvPr>
          <p:cNvSpPr>
            <a:spLocks noGrp="1"/>
          </p:cNvSpPr>
          <p:nvPr>
            <p:ph type="ftr" sz="quarter" idx="19"/>
          </p:nvPr>
        </p:nvSpPr>
        <p:spPr bwMode="gray"/>
        <p:txBody>
          <a:bodyPr/>
          <a:lstStyle/>
          <a:p>
            <a:r>
              <a:rPr lang="de-DE" dirty="0"/>
              <a:t>Unternehmenspräsentation</a:t>
            </a:r>
          </a:p>
        </p:txBody>
      </p:sp>
      <p:sp>
        <p:nvSpPr>
          <p:cNvPr id="9" name="Foliennummernplatzhalter 8">
            <a:extLst>
              <a:ext uri="{FF2B5EF4-FFF2-40B4-BE49-F238E27FC236}">
                <a16:creationId xmlns:a16="http://schemas.microsoft.com/office/drawing/2014/main" id="{EBD0CC96-F467-45EE-0870-1323129C5FF0}"/>
              </a:ext>
            </a:extLst>
          </p:cNvPr>
          <p:cNvSpPr>
            <a:spLocks noGrp="1"/>
          </p:cNvSpPr>
          <p:nvPr>
            <p:ph type="sldNum" sz="quarter" idx="20"/>
          </p:nvPr>
        </p:nvSpPr>
        <p:spPr bwMode="gray"/>
        <p:txBody>
          <a:bodyPr/>
          <a:lstStyle/>
          <a:p>
            <a:fld id="{1A2CFED3-8F6A-4617-95E5-25D21BE72BEB}" type="slidenum">
              <a:rPr lang="de-DE" smtClean="0"/>
              <a:pPr/>
              <a:t>‹#›</a:t>
            </a:fld>
            <a:endParaRPr lang="de-DE" dirty="0"/>
          </a:p>
        </p:txBody>
      </p:sp>
      <p:sp>
        <p:nvSpPr>
          <p:cNvPr id="11" name="Titel 10">
            <a:extLst>
              <a:ext uri="{FF2B5EF4-FFF2-40B4-BE49-F238E27FC236}">
                <a16:creationId xmlns:a16="http://schemas.microsoft.com/office/drawing/2014/main" id="{B36115CA-DE3F-FCD2-DB1E-82EDD5197903}"/>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
        <p:nvSpPr>
          <p:cNvPr id="14" name="Textplatzhalter 2">
            <a:extLst>
              <a:ext uri="{FF2B5EF4-FFF2-40B4-BE49-F238E27FC236}">
                <a16:creationId xmlns:a16="http://schemas.microsoft.com/office/drawing/2014/main" id="{8AD38492-2CE7-4C71-83CE-D13599B0E0DE}"/>
              </a:ext>
            </a:extLst>
          </p:cNvPr>
          <p:cNvSpPr>
            <a:spLocks noGrp="1"/>
          </p:cNvSpPr>
          <p:nvPr>
            <p:ph type="body" idx="16" hasCustomPrompt="1"/>
          </p:nvPr>
        </p:nvSpPr>
        <p:spPr bwMode="gray">
          <a:xfrm>
            <a:off x="695324" y="6164725"/>
            <a:ext cx="6480000"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Tree>
    <p:extLst>
      <p:ext uri="{BB962C8B-B14F-4D97-AF65-F5344CB8AC3E}">
        <p14:creationId xmlns:p14="http://schemas.microsoft.com/office/powerpoint/2010/main" val="4205866877"/>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Diagramme + Texte">
    <p:spTree>
      <p:nvGrpSpPr>
        <p:cNvPr id="1" name=""/>
        <p:cNvGrpSpPr/>
        <p:nvPr/>
      </p:nvGrpSpPr>
      <p:grpSpPr>
        <a:xfrm>
          <a:off x="0" y="0"/>
          <a:ext cx="0" cy="0"/>
          <a:chOff x="0" y="0"/>
          <a:chExt cx="0" cy="0"/>
        </a:xfrm>
      </p:grpSpPr>
      <p:sp>
        <p:nvSpPr>
          <p:cNvPr id="12" name="Diagrammplatzhalter 10">
            <a:extLst>
              <a:ext uri="{FF2B5EF4-FFF2-40B4-BE49-F238E27FC236}">
                <a16:creationId xmlns:a16="http://schemas.microsoft.com/office/drawing/2014/main" id="{8254BFB1-BC07-F8A0-B605-4492420C6140}"/>
              </a:ext>
            </a:extLst>
          </p:cNvPr>
          <p:cNvSpPr>
            <a:spLocks noGrp="1"/>
          </p:cNvSpPr>
          <p:nvPr>
            <p:ph type="chart" sz="quarter" idx="14"/>
          </p:nvPr>
        </p:nvSpPr>
        <p:spPr bwMode="gray">
          <a:xfrm>
            <a:off x="695325" y="1844675"/>
            <a:ext cx="3204000" cy="1944000"/>
          </a:xfrm>
        </p:spPr>
        <p:txBody>
          <a:bodyPr/>
          <a:lstStyle>
            <a:lvl1pPr>
              <a:defRPr cap="all" baseline="0">
                <a:latin typeface="+mj-lt"/>
              </a:defRPr>
            </a:lvl1pPr>
          </a:lstStyle>
          <a:p>
            <a:r>
              <a:rPr lang="en-US"/>
              <a:t>Click icon to add chart</a:t>
            </a:r>
            <a:endParaRPr lang="de-DE" dirty="0"/>
          </a:p>
        </p:txBody>
      </p:sp>
      <p:sp>
        <p:nvSpPr>
          <p:cNvPr id="14" name="Diagrammplatzhalter 10">
            <a:extLst>
              <a:ext uri="{FF2B5EF4-FFF2-40B4-BE49-F238E27FC236}">
                <a16:creationId xmlns:a16="http://schemas.microsoft.com/office/drawing/2014/main" id="{B3FE0C63-0B82-5F40-58C6-9FB46DBFE967}"/>
              </a:ext>
            </a:extLst>
          </p:cNvPr>
          <p:cNvSpPr>
            <a:spLocks noGrp="1"/>
          </p:cNvSpPr>
          <p:nvPr>
            <p:ph type="chart" sz="quarter" idx="16"/>
          </p:nvPr>
        </p:nvSpPr>
        <p:spPr bwMode="gray">
          <a:xfrm>
            <a:off x="6242400" y="1844675"/>
            <a:ext cx="3204000" cy="1944000"/>
          </a:xfrm>
        </p:spPr>
        <p:txBody>
          <a:bodyPr/>
          <a:lstStyle>
            <a:lvl1pPr>
              <a:defRPr cap="all" baseline="0">
                <a:latin typeface="+mj-lt"/>
              </a:defRPr>
            </a:lvl1pPr>
          </a:lstStyle>
          <a:p>
            <a:r>
              <a:rPr lang="en-US"/>
              <a:t>Click icon to add chart</a:t>
            </a:r>
            <a:endParaRPr lang="de-DE" dirty="0"/>
          </a:p>
        </p:txBody>
      </p:sp>
      <p:sp>
        <p:nvSpPr>
          <p:cNvPr id="15" name="Diagrammplatzhalter 10">
            <a:extLst>
              <a:ext uri="{FF2B5EF4-FFF2-40B4-BE49-F238E27FC236}">
                <a16:creationId xmlns:a16="http://schemas.microsoft.com/office/drawing/2014/main" id="{E15AC574-A6B4-4CA9-B63D-E526B41C53D8}"/>
              </a:ext>
            </a:extLst>
          </p:cNvPr>
          <p:cNvSpPr>
            <a:spLocks noGrp="1"/>
          </p:cNvSpPr>
          <p:nvPr>
            <p:ph type="chart" sz="quarter" idx="17"/>
          </p:nvPr>
        </p:nvSpPr>
        <p:spPr bwMode="gray">
          <a:xfrm>
            <a:off x="695325" y="4150800"/>
            <a:ext cx="3204000" cy="1944000"/>
          </a:xfrm>
        </p:spPr>
        <p:txBody>
          <a:bodyPr/>
          <a:lstStyle>
            <a:lvl1pPr>
              <a:defRPr cap="all" baseline="0">
                <a:latin typeface="+mj-lt"/>
              </a:defRPr>
            </a:lvl1pPr>
          </a:lstStyle>
          <a:p>
            <a:r>
              <a:rPr lang="en-US"/>
              <a:t>Click icon to add chart</a:t>
            </a:r>
            <a:endParaRPr lang="de-DE" dirty="0"/>
          </a:p>
        </p:txBody>
      </p:sp>
      <p:sp>
        <p:nvSpPr>
          <p:cNvPr id="17" name="Diagrammplatzhalter 10">
            <a:extLst>
              <a:ext uri="{FF2B5EF4-FFF2-40B4-BE49-F238E27FC236}">
                <a16:creationId xmlns:a16="http://schemas.microsoft.com/office/drawing/2014/main" id="{CD4D94B7-C583-1B70-372B-00B8240A66B2}"/>
              </a:ext>
            </a:extLst>
          </p:cNvPr>
          <p:cNvSpPr>
            <a:spLocks noGrp="1"/>
          </p:cNvSpPr>
          <p:nvPr>
            <p:ph type="chart" sz="quarter" idx="19"/>
          </p:nvPr>
        </p:nvSpPr>
        <p:spPr bwMode="gray">
          <a:xfrm>
            <a:off x="6240676" y="4150800"/>
            <a:ext cx="3204000" cy="1944000"/>
          </a:xfrm>
        </p:spPr>
        <p:txBody>
          <a:bodyPr/>
          <a:lstStyle>
            <a:lvl1pPr>
              <a:defRPr cap="all" baseline="0">
                <a:latin typeface="+mj-lt"/>
              </a:defRPr>
            </a:lvl1pPr>
          </a:lstStyle>
          <a:p>
            <a:r>
              <a:rPr lang="en-US"/>
              <a:t>Click icon to add chart</a:t>
            </a:r>
            <a:endParaRPr lang="de-DE" dirty="0"/>
          </a:p>
        </p:txBody>
      </p:sp>
      <p:sp>
        <p:nvSpPr>
          <p:cNvPr id="10" name="Textplatzhalter 9">
            <a:extLst>
              <a:ext uri="{FF2B5EF4-FFF2-40B4-BE49-F238E27FC236}">
                <a16:creationId xmlns:a16="http://schemas.microsoft.com/office/drawing/2014/main" id="{1D90FCFD-4354-F445-2708-4B7F34AA686F}"/>
              </a:ext>
            </a:extLst>
          </p:cNvPr>
          <p:cNvSpPr>
            <a:spLocks noGrp="1"/>
          </p:cNvSpPr>
          <p:nvPr>
            <p:ph type="body" sz="quarter" idx="22"/>
          </p:nvPr>
        </p:nvSpPr>
        <p:spPr bwMode="gray">
          <a:xfrm>
            <a:off x="4006800" y="1844675"/>
            <a:ext cx="1944000" cy="1944000"/>
          </a:xfrm>
        </p:spPr>
        <p:txBody>
          <a:bodyPr vert="horz" lIns="0" tIns="0" rIns="0" bIns="0" rtlCol="0">
            <a:noAutofit/>
          </a:bodyPr>
          <a:lstStyle>
            <a:lvl1pPr>
              <a:lnSpc>
                <a:spcPts val="1600"/>
              </a:lnSpc>
              <a:defRPr lang="de-DE" dirty="0"/>
            </a:lvl1pPr>
            <a:lvl2pPr>
              <a:lnSpc>
                <a:spcPts val="1600"/>
              </a:lnSpc>
              <a:spcBef>
                <a:spcPts val="200"/>
              </a:spcBef>
              <a:spcAft>
                <a:spcPts val="200"/>
              </a:spcAft>
              <a:defRPr lang="de-DE" dirty="0"/>
            </a:lvl2pPr>
            <a:lvl3pPr>
              <a:lnSpc>
                <a:spcPts val="1600"/>
              </a:lnSpc>
              <a:spcBef>
                <a:spcPts val="200"/>
              </a:spcBef>
              <a:spcAft>
                <a:spcPts val="200"/>
              </a:spcAft>
              <a:defRPr lang="de-DE" dirty="0"/>
            </a:lvl3pPr>
            <a:lvl4pPr>
              <a:lnSpc>
                <a:spcPts val="1600"/>
              </a:lnSpc>
              <a:spcBef>
                <a:spcPts val="200"/>
              </a:spcBef>
              <a:spcAft>
                <a:spcPts val="200"/>
              </a:spcAft>
              <a:defRPr lang="de-DE" dirty="0"/>
            </a:lvl4pPr>
            <a:lvl5pPr>
              <a:lnSpc>
                <a:spcPts val="1600"/>
              </a:lnSpc>
              <a:spcBef>
                <a:spcPts val="200"/>
              </a:spcBef>
              <a:spcAft>
                <a:spcPts val="200"/>
              </a:spcAft>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extplatzhalter 9">
            <a:extLst>
              <a:ext uri="{FF2B5EF4-FFF2-40B4-BE49-F238E27FC236}">
                <a16:creationId xmlns:a16="http://schemas.microsoft.com/office/drawing/2014/main" id="{8DFCC9B3-3D35-7466-54AF-9FA799FB4D1E}"/>
              </a:ext>
            </a:extLst>
          </p:cNvPr>
          <p:cNvSpPr>
            <a:spLocks noGrp="1"/>
          </p:cNvSpPr>
          <p:nvPr>
            <p:ph type="body" sz="quarter" idx="23"/>
          </p:nvPr>
        </p:nvSpPr>
        <p:spPr bwMode="gray">
          <a:xfrm>
            <a:off x="9552676" y="1844675"/>
            <a:ext cx="1944000" cy="1944000"/>
          </a:xfrm>
        </p:spPr>
        <p:txBody>
          <a:bodyPr vert="horz" lIns="0" tIns="0" rIns="0" bIns="0" rtlCol="0">
            <a:noAutofit/>
          </a:bodyPr>
          <a:lstStyle>
            <a:lvl1pPr>
              <a:lnSpc>
                <a:spcPts val="1600"/>
              </a:lnSpc>
              <a:defRPr lang="de-DE" dirty="0"/>
            </a:lvl1pPr>
            <a:lvl2pPr>
              <a:lnSpc>
                <a:spcPts val="1600"/>
              </a:lnSpc>
              <a:spcBef>
                <a:spcPts val="200"/>
              </a:spcBef>
              <a:spcAft>
                <a:spcPts val="200"/>
              </a:spcAft>
              <a:defRPr lang="de-DE" dirty="0"/>
            </a:lvl2pPr>
            <a:lvl3pPr>
              <a:lnSpc>
                <a:spcPts val="1600"/>
              </a:lnSpc>
              <a:spcBef>
                <a:spcPts val="200"/>
              </a:spcBef>
              <a:spcAft>
                <a:spcPts val="200"/>
              </a:spcAft>
              <a:defRPr lang="de-DE" dirty="0"/>
            </a:lvl3pPr>
            <a:lvl4pPr>
              <a:lnSpc>
                <a:spcPts val="1600"/>
              </a:lnSpc>
              <a:spcBef>
                <a:spcPts val="200"/>
              </a:spcBef>
              <a:spcAft>
                <a:spcPts val="200"/>
              </a:spcAft>
              <a:defRPr lang="de-DE" dirty="0"/>
            </a:lvl4pPr>
            <a:lvl5pPr>
              <a:lnSpc>
                <a:spcPts val="1600"/>
              </a:lnSpc>
              <a:spcBef>
                <a:spcPts val="200"/>
              </a:spcBef>
              <a:spcAft>
                <a:spcPts val="200"/>
              </a:spcAft>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8" name="Textplatzhalter 9">
            <a:extLst>
              <a:ext uri="{FF2B5EF4-FFF2-40B4-BE49-F238E27FC236}">
                <a16:creationId xmlns:a16="http://schemas.microsoft.com/office/drawing/2014/main" id="{F95E11EC-1B03-AED0-1EAC-4A92D7E77A10}"/>
              </a:ext>
            </a:extLst>
          </p:cNvPr>
          <p:cNvSpPr>
            <a:spLocks noGrp="1"/>
          </p:cNvSpPr>
          <p:nvPr>
            <p:ph type="body" sz="quarter" idx="24"/>
          </p:nvPr>
        </p:nvSpPr>
        <p:spPr bwMode="gray">
          <a:xfrm>
            <a:off x="4006800" y="4150800"/>
            <a:ext cx="1944000" cy="1944000"/>
          </a:xfrm>
        </p:spPr>
        <p:txBody>
          <a:bodyPr vert="horz" lIns="0" tIns="0" rIns="0" bIns="0" rtlCol="0">
            <a:noAutofit/>
          </a:bodyPr>
          <a:lstStyle>
            <a:lvl1pPr>
              <a:lnSpc>
                <a:spcPts val="1600"/>
              </a:lnSpc>
              <a:defRPr lang="de-DE" dirty="0"/>
            </a:lvl1pPr>
            <a:lvl2pPr>
              <a:lnSpc>
                <a:spcPts val="1600"/>
              </a:lnSpc>
              <a:spcBef>
                <a:spcPts val="200"/>
              </a:spcBef>
              <a:spcAft>
                <a:spcPts val="200"/>
              </a:spcAft>
              <a:defRPr lang="de-DE" dirty="0"/>
            </a:lvl2pPr>
            <a:lvl3pPr>
              <a:lnSpc>
                <a:spcPts val="1600"/>
              </a:lnSpc>
              <a:spcBef>
                <a:spcPts val="200"/>
              </a:spcBef>
              <a:spcAft>
                <a:spcPts val="200"/>
              </a:spcAft>
              <a:defRPr lang="de-DE" dirty="0"/>
            </a:lvl3pPr>
            <a:lvl4pPr>
              <a:lnSpc>
                <a:spcPts val="1600"/>
              </a:lnSpc>
              <a:spcBef>
                <a:spcPts val="200"/>
              </a:spcBef>
              <a:spcAft>
                <a:spcPts val="200"/>
              </a:spcAft>
              <a:defRPr lang="de-DE" dirty="0"/>
            </a:lvl4pPr>
            <a:lvl5pPr>
              <a:lnSpc>
                <a:spcPts val="1600"/>
              </a:lnSpc>
              <a:spcBef>
                <a:spcPts val="200"/>
              </a:spcBef>
              <a:spcAft>
                <a:spcPts val="200"/>
              </a:spcAft>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9" name="Textplatzhalter 9">
            <a:extLst>
              <a:ext uri="{FF2B5EF4-FFF2-40B4-BE49-F238E27FC236}">
                <a16:creationId xmlns:a16="http://schemas.microsoft.com/office/drawing/2014/main" id="{C2FA1A53-F8C1-3167-C7E2-2A5A2E3696D6}"/>
              </a:ext>
            </a:extLst>
          </p:cNvPr>
          <p:cNvSpPr>
            <a:spLocks noGrp="1"/>
          </p:cNvSpPr>
          <p:nvPr>
            <p:ph type="body" sz="quarter" idx="25"/>
          </p:nvPr>
        </p:nvSpPr>
        <p:spPr bwMode="gray">
          <a:xfrm>
            <a:off x="9552676" y="4150800"/>
            <a:ext cx="1944000" cy="1944000"/>
          </a:xfrm>
        </p:spPr>
        <p:txBody>
          <a:bodyPr vert="horz" lIns="0" tIns="0" rIns="0" bIns="0" rtlCol="0">
            <a:noAutofit/>
          </a:bodyPr>
          <a:lstStyle>
            <a:lvl1pPr>
              <a:lnSpc>
                <a:spcPts val="1600"/>
              </a:lnSpc>
              <a:defRPr lang="de-DE" dirty="0"/>
            </a:lvl1pPr>
            <a:lvl2pPr>
              <a:lnSpc>
                <a:spcPts val="1600"/>
              </a:lnSpc>
              <a:spcBef>
                <a:spcPts val="200"/>
              </a:spcBef>
              <a:spcAft>
                <a:spcPts val="200"/>
              </a:spcAft>
              <a:defRPr lang="de-DE" dirty="0"/>
            </a:lvl2pPr>
            <a:lvl3pPr>
              <a:lnSpc>
                <a:spcPts val="1600"/>
              </a:lnSpc>
              <a:spcBef>
                <a:spcPts val="200"/>
              </a:spcBef>
              <a:spcAft>
                <a:spcPts val="200"/>
              </a:spcAft>
              <a:defRPr lang="de-DE" dirty="0"/>
            </a:lvl3pPr>
            <a:lvl4pPr>
              <a:lnSpc>
                <a:spcPts val="1600"/>
              </a:lnSpc>
              <a:spcBef>
                <a:spcPts val="200"/>
              </a:spcBef>
              <a:spcAft>
                <a:spcPts val="200"/>
              </a:spcAft>
              <a:defRPr lang="de-DE" dirty="0"/>
            </a:lvl4pPr>
            <a:lvl5pPr>
              <a:lnSpc>
                <a:spcPts val="1600"/>
              </a:lnSpc>
              <a:spcBef>
                <a:spcPts val="200"/>
              </a:spcBef>
              <a:spcAft>
                <a:spcPts val="200"/>
              </a:spcAft>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Datumsplatzhalter 1">
            <a:extLst>
              <a:ext uri="{FF2B5EF4-FFF2-40B4-BE49-F238E27FC236}">
                <a16:creationId xmlns:a16="http://schemas.microsoft.com/office/drawing/2014/main" id="{BDC25350-4CD2-C6C9-A464-404B74B59C86}"/>
              </a:ext>
            </a:extLst>
          </p:cNvPr>
          <p:cNvSpPr>
            <a:spLocks noGrp="1"/>
          </p:cNvSpPr>
          <p:nvPr>
            <p:ph type="dt" sz="half" idx="26"/>
          </p:nvPr>
        </p:nvSpPr>
        <p:spPr bwMode="gray"/>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DCC36C6A-AA29-C4DA-7E9F-A7C6D68CADE5}"/>
              </a:ext>
            </a:extLst>
          </p:cNvPr>
          <p:cNvSpPr>
            <a:spLocks noGrp="1"/>
          </p:cNvSpPr>
          <p:nvPr>
            <p:ph type="ftr" sz="quarter" idx="27"/>
          </p:nvPr>
        </p:nvSpPr>
        <p:spPr bwMode="gray">
          <a:xfrm>
            <a:off x="4296676" y="6498000"/>
            <a:ext cx="7200000" cy="180000"/>
          </a:xfrm>
        </p:spPr>
        <p:txBody>
          <a:bodyPr/>
          <a:lstStyle/>
          <a:p>
            <a:r>
              <a:rPr lang="de-DE" dirty="0"/>
              <a:t>Unternehmenspräsentation</a:t>
            </a:r>
          </a:p>
        </p:txBody>
      </p:sp>
      <p:sp>
        <p:nvSpPr>
          <p:cNvPr id="13" name="Foliennummernplatzhalter 12">
            <a:extLst>
              <a:ext uri="{FF2B5EF4-FFF2-40B4-BE49-F238E27FC236}">
                <a16:creationId xmlns:a16="http://schemas.microsoft.com/office/drawing/2014/main" id="{A26CE5AA-2B73-98C5-56F5-DB047244F3C2}"/>
              </a:ext>
            </a:extLst>
          </p:cNvPr>
          <p:cNvSpPr>
            <a:spLocks noGrp="1"/>
          </p:cNvSpPr>
          <p:nvPr>
            <p:ph type="sldNum" sz="quarter" idx="28"/>
          </p:nvPr>
        </p:nvSpPr>
        <p:spPr bwMode="gray"/>
        <p:txBody>
          <a:bodyPr/>
          <a:lstStyle/>
          <a:p>
            <a:fld id="{1A2CFED3-8F6A-4617-95E5-25D21BE72BEB}" type="slidenum">
              <a:rPr lang="de-DE" smtClean="0"/>
              <a:pPr/>
              <a:t>‹#›</a:t>
            </a:fld>
            <a:endParaRPr lang="de-DE" dirty="0"/>
          </a:p>
        </p:txBody>
      </p:sp>
      <p:sp>
        <p:nvSpPr>
          <p:cNvPr id="20" name="Titel 19">
            <a:extLst>
              <a:ext uri="{FF2B5EF4-FFF2-40B4-BE49-F238E27FC236}">
                <a16:creationId xmlns:a16="http://schemas.microsoft.com/office/drawing/2014/main" id="{FFE036F1-EA82-09D8-176C-E22B185FB4E1}"/>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
        <p:nvSpPr>
          <p:cNvPr id="21" name="Textplatzhalter 2">
            <a:extLst>
              <a:ext uri="{FF2B5EF4-FFF2-40B4-BE49-F238E27FC236}">
                <a16:creationId xmlns:a16="http://schemas.microsoft.com/office/drawing/2014/main" id="{3EF4C868-4D1E-3193-8EDA-73B2F3FAE986}"/>
              </a:ext>
            </a:extLst>
          </p:cNvPr>
          <p:cNvSpPr>
            <a:spLocks noGrp="1"/>
          </p:cNvSpPr>
          <p:nvPr>
            <p:ph type="body" idx="29" hasCustomPrompt="1"/>
          </p:nvPr>
        </p:nvSpPr>
        <p:spPr bwMode="gray">
          <a:xfrm>
            <a:off x="695324" y="6164725"/>
            <a:ext cx="5256000"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
        <p:nvSpPr>
          <p:cNvPr id="23" name="Textplatzhalter 2">
            <a:extLst>
              <a:ext uri="{FF2B5EF4-FFF2-40B4-BE49-F238E27FC236}">
                <a16:creationId xmlns:a16="http://schemas.microsoft.com/office/drawing/2014/main" id="{488C9335-E191-5B58-7B2B-99221C564A45}"/>
              </a:ext>
            </a:extLst>
          </p:cNvPr>
          <p:cNvSpPr>
            <a:spLocks noGrp="1"/>
          </p:cNvSpPr>
          <p:nvPr>
            <p:ph type="body" idx="30" hasCustomPrompt="1"/>
          </p:nvPr>
        </p:nvSpPr>
        <p:spPr bwMode="gray">
          <a:xfrm>
            <a:off x="6240676" y="6164725"/>
            <a:ext cx="5256000"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
        <p:nvSpPr>
          <p:cNvPr id="24" name="Textplatzhalter 2">
            <a:extLst>
              <a:ext uri="{FF2B5EF4-FFF2-40B4-BE49-F238E27FC236}">
                <a16:creationId xmlns:a16="http://schemas.microsoft.com/office/drawing/2014/main" id="{86B33EDE-042A-8605-8C69-1C1158586B76}"/>
              </a:ext>
            </a:extLst>
          </p:cNvPr>
          <p:cNvSpPr>
            <a:spLocks noGrp="1"/>
          </p:cNvSpPr>
          <p:nvPr>
            <p:ph type="body" idx="31" hasCustomPrompt="1"/>
          </p:nvPr>
        </p:nvSpPr>
        <p:spPr bwMode="gray">
          <a:xfrm>
            <a:off x="695324" y="3866400"/>
            <a:ext cx="5256000"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
        <p:nvSpPr>
          <p:cNvPr id="25" name="Textplatzhalter 2">
            <a:extLst>
              <a:ext uri="{FF2B5EF4-FFF2-40B4-BE49-F238E27FC236}">
                <a16:creationId xmlns:a16="http://schemas.microsoft.com/office/drawing/2014/main" id="{F6EB73CD-3CBD-A0B9-3A13-55A412AA93DD}"/>
              </a:ext>
            </a:extLst>
          </p:cNvPr>
          <p:cNvSpPr>
            <a:spLocks noGrp="1"/>
          </p:cNvSpPr>
          <p:nvPr>
            <p:ph type="body" idx="32" hasCustomPrompt="1"/>
          </p:nvPr>
        </p:nvSpPr>
        <p:spPr bwMode="gray">
          <a:xfrm>
            <a:off x="6240676" y="3866400"/>
            <a:ext cx="5256000"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a:t>
            </a:r>
          </a:p>
        </p:txBody>
      </p:sp>
    </p:spTree>
    <p:extLst>
      <p:ext uri="{BB962C8B-B14F-4D97-AF65-F5344CB8AC3E}">
        <p14:creationId xmlns:p14="http://schemas.microsoft.com/office/powerpoint/2010/main" val="3986410235"/>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Diagramme">
    <p:spTree>
      <p:nvGrpSpPr>
        <p:cNvPr id="1" name=""/>
        <p:cNvGrpSpPr/>
        <p:nvPr/>
      </p:nvGrpSpPr>
      <p:grpSpPr>
        <a:xfrm>
          <a:off x="0" y="0"/>
          <a:ext cx="0" cy="0"/>
          <a:chOff x="0" y="0"/>
          <a:chExt cx="0" cy="0"/>
        </a:xfrm>
      </p:grpSpPr>
      <p:sp>
        <p:nvSpPr>
          <p:cNvPr id="12" name="Diagrammplatzhalter 10">
            <a:extLst>
              <a:ext uri="{FF2B5EF4-FFF2-40B4-BE49-F238E27FC236}">
                <a16:creationId xmlns:a16="http://schemas.microsoft.com/office/drawing/2014/main" id="{8254BFB1-BC07-F8A0-B605-4492420C6140}"/>
              </a:ext>
            </a:extLst>
          </p:cNvPr>
          <p:cNvSpPr>
            <a:spLocks noGrp="1"/>
          </p:cNvSpPr>
          <p:nvPr>
            <p:ph type="chart" sz="quarter" idx="14"/>
          </p:nvPr>
        </p:nvSpPr>
        <p:spPr bwMode="gray">
          <a:xfrm>
            <a:off x="695325" y="1861823"/>
            <a:ext cx="3348000" cy="2016000"/>
          </a:xfrm>
        </p:spPr>
        <p:txBody>
          <a:bodyPr/>
          <a:lstStyle>
            <a:lvl1pPr>
              <a:defRPr sz="1400" cap="all" baseline="0">
                <a:latin typeface="+mj-lt"/>
              </a:defRPr>
            </a:lvl1pPr>
          </a:lstStyle>
          <a:p>
            <a:r>
              <a:rPr lang="en-US"/>
              <a:t>Click icon to add chart</a:t>
            </a:r>
            <a:endParaRPr lang="de-DE" dirty="0"/>
          </a:p>
        </p:txBody>
      </p:sp>
      <p:sp>
        <p:nvSpPr>
          <p:cNvPr id="13" name="Diagrammplatzhalter 10">
            <a:extLst>
              <a:ext uri="{FF2B5EF4-FFF2-40B4-BE49-F238E27FC236}">
                <a16:creationId xmlns:a16="http://schemas.microsoft.com/office/drawing/2014/main" id="{5D4BC7B8-5940-3345-437D-E95F6EDC148A}"/>
              </a:ext>
            </a:extLst>
          </p:cNvPr>
          <p:cNvSpPr>
            <a:spLocks noGrp="1"/>
          </p:cNvSpPr>
          <p:nvPr>
            <p:ph type="chart" sz="quarter" idx="15"/>
          </p:nvPr>
        </p:nvSpPr>
        <p:spPr bwMode="gray">
          <a:xfrm>
            <a:off x="4502123" y="1861823"/>
            <a:ext cx="3348000" cy="2016000"/>
          </a:xfrm>
        </p:spPr>
        <p:txBody>
          <a:bodyPr/>
          <a:lstStyle>
            <a:lvl1pPr>
              <a:defRPr sz="1400" cap="none" baseline="0">
                <a:latin typeface="+mj-lt"/>
              </a:defRPr>
            </a:lvl1pPr>
          </a:lstStyle>
          <a:p>
            <a:r>
              <a:rPr lang="en-US" cap="none" baseline="0"/>
              <a:t>Click icon to add chart</a:t>
            </a:r>
            <a:endParaRPr lang="de-DE" dirty="0"/>
          </a:p>
        </p:txBody>
      </p:sp>
      <p:sp>
        <p:nvSpPr>
          <p:cNvPr id="14" name="Diagrammplatzhalter 10">
            <a:extLst>
              <a:ext uri="{FF2B5EF4-FFF2-40B4-BE49-F238E27FC236}">
                <a16:creationId xmlns:a16="http://schemas.microsoft.com/office/drawing/2014/main" id="{B3FE0C63-0B82-5F40-58C6-9FB46DBFE967}"/>
              </a:ext>
            </a:extLst>
          </p:cNvPr>
          <p:cNvSpPr>
            <a:spLocks noGrp="1"/>
          </p:cNvSpPr>
          <p:nvPr>
            <p:ph type="chart" sz="quarter" idx="16"/>
          </p:nvPr>
        </p:nvSpPr>
        <p:spPr bwMode="gray">
          <a:xfrm>
            <a:off x="8148676" y="1861823"/>
            <a:ext cx="3348000" cy="2016000"/>
          </a:xfrm>
        </p:spPr>
        <p:txBody>
          <a:bodyPr/>
          <a:lstStyle>
            <a:lvl1pPr>
              <a:defRPr sz="1400" cap="none" baseline="0">
                <a:latin typeface="+mj-lt"/>
              </a:defRPr>
            </a:lvl1pPr>
          </a:lstStyle>
          <a:p>
            <a:r>
              <a:rPr lang="en-US" cap="none" baseline="0"/>
              <a:t>Click icon to add chart</a:t>
            </a:r>
            <a:endParaRPr lang="de-DE" dirty="0"/>
          </a:p>
        </p:txBody>
      </p:sp>
      <p:sp>
        <p:nvSpPr>
          <p:cNvPr id="15" name="Diagrammplatzhalter 10">
            <a:extLst>
              <a:ext uri="{FF2B5EF4-FFF2-40B4-BE49-F238E27FC236}">
                <a16:creationId xmlns:a16="http://schemas.microsoft.com/office/drawing/2014/main" id="{E15AC574-A6B4-4CA9-B63D-E526B41C53D8}"/>
              </a:ext>
            </a:extLst>
          </p:cNvPr>
          <p:cNvSpPr>
            <a:spLocks noGrp="1"/>
          </p:cNvSpPr>
          <p:nvPr>
            <p:ph type="chart" sz="quarter" idx="17"/>
          </p:nvPr>
        </p:nvSpPr>
        <p:spPr bwMode="gray">
          <a:xfrm>
            <a:off x="695325" y="4013274"/>
            <a:ext cx="3348000" cy="2016000"/>
          </a:xfrm>
        </p:spPr>
        <p:txBody>
          <a:bodyPr/>
          <a:lstStyle>
            <a:lvl1pPr>
              <a:defRPr sz="1400" cap="none" baseline="0">
                <a:latin typeface="+mj-lt"/>
              </a:defRPr>
            </a:lvl1pPr>
          </a:lstStyle>
          <a:p>
            <a:r>
              <a:rPr lang="en-US" cap="none" baseline="0"/>
              <a:t>Click icon to add chart</a:t>
            </a:r>
            <a:endParaRPr lang="de-DE" dirty="0"/>
          </a:p>
        </p:txBody>
      </p:sp>
      <p:sp>
        <p:nvSpPr>
          <p:cNvPr id="16" name="Diagrammplatzhalter 10">
            <a:extLst>
              <a:ext uri="{FF2B5EF4-FFF2-40B4-BE49-F238E27FC236}">
                <a16:creationId xmlns:a16="http://schemas.microsoft.com/office/drawing/2014/main" id="{EE70CCEB-5B88-5078-B666-E179BB58F09C}"/>
              </a:ext>
            </a:extLst>
          </p:cNvPr>
          <p:cNvSpPr>
            <a:spLocks noGrp="1"/>
          </p:cNvSpPr>
          <p:nvPr>
            <p:ph type="chart" sz="quarter" idx="18"/>
          </p:nvPr>
        </p:nvSpPr>
        <p:spPr bwMode="gray">
          <a:xfrm>
            <a:off x="4502123" y="4013274"/>
            <a:ext cx="3348000" cy="2016000"/>
          </a:xfrm>
        </p:spPr>
        <p:txBody>
          <a:bodyPr/>
          <a:lstStyle>
            <a:lvl1pPr>
              <a:defRPr sz="1400" cap="none" baseline="0">
                <a:latin typeface="+mj-lt"/>
              </a:defRPr>
            </a:lvl1pPr>
          </a:lstStyle>
          <a:p>
            <a:r>
              <a:rPr lang="en-US" cap="none" baseline="0"/>
              <a:t>Click icon to add chart</a:t>
            </a:r>
            <a:endParaRPr lang="de-DE" dirty="0"/>
          </a:p>
        </p:txBody>
      </p:sp>
      <p:sp>
        <p:nvSpPr>
          <p:cNvPr id="17" name="Diagrammplatzhalter 10">
            <a:extLst>
              <a:ext uri="{FF2B5EF4-FFF2-40B4-BE49-F238E27FC236}">
                <a16:creationId xmlns:a16="http://schemas.microsoft.com/office/drawing/2014/main" id="{CD4D94B7-C583-1B70-372B-00B8240A66B2}"/>
              </a:ext>
            </a:extLst>
          </p:cNvPr>
          <p:cNvSpPr>
            <a:spLocks noGrp="1"/>
          </p:cNvSpPr>
          <p:nvPr>
            <p:ph type="chart" sz="quarter" idx="19"/>
          </p:nvPr>
        </p:nvSpPr>
        <p:spPr bwMode="gray">
          <a:xfrm>
            <a:off x="8148676" y="4013274"/>
            <a:ext cx="3348000" cy="2016000"/>
          </a:xfrm>
        </p:spPr>
        <p:txBody>
          <a:bodyPr/>
          <a:lstStyle>
            <a:lvl1pPr>
              <a:defRPr sz="1400" cap="none" baseline="0">
                <a:latin typeface="+mj-lt"/>
              </a:defRPr>
            </a:lvl1pPr>
          </a:lstStyle>
          <a:p>
            <a:r>
              <a:rPr lang="en-US" cap="none" baseline="0"/>
              <a:t>Click icon to add chart</a:t>
            </a:r>
            <a:endParaRPr lang="de-DE" dirty="0"/>
          </a:p>
        </p:txBody>
      </p:sp>
      <p:sp>
        <p:nvSpPr>
          <p:cNvPr id="2" name="Datumsplatzhalter 1">
            <a:extLst>
              <a:ext uri="{FF2B5EF4-FFF2-40B4-BE49-F238E27FC236}">
                <a16:creationId xmlns:a16="http://schemas.microsoft.com/office/drawing/2014/main" id="{C29E61BB-FEAD-E9CD-7DF3-4357C00FA3C0}"/>
              </a:ext>
            </a:extLst>
          </p:cNvPr>
          <p:cNvSpPr>
            <a:spLocks noGrp="1"/>
          </p:cNvSpPr>
          <p:nvPr>
            <p:ph type="dt" sz="half" idx="22"/>
          </p:nvPr>
        </p:nvSpPr>
        <p:spPr bwMode="gray">
          <a:xfrm>
            <a:off x="695325" y="6498000"/>
            <a:ext cx="2743200" cy="180000"/>
          </a:xfrm>
        </p:spPr>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B11716BA-E412-6C33-31C7-3BE6D3C7B12A}"/>
              </a:ext>
            </a:extLst>
          </p:cNvPr>
          <p:cNvSpPr>
            <a:spLocks noGrp="1"/>
          </p:cNvSpPr>
          <p:nvPr>
            <p:ph type="ftr" sz="quarter" idx="23"/>
          </p:nvPr>
        </p:nvSpPr>
        <p:spPr bwMode="gray">
          <a:xfrm>
            <a:off x="4296676" y="6498000"/>
            <a:ext cx="7200000" cy="180000"/>
          </a:xfrm>
        </p:spPr>
        <p:txBody>
          <a:bodyPr/>
          <a:lstStyle/>
          <a:p>
            <a:r>
              <a:rPr lang="de-DE" dirty="0"/>
              <a:t>Unternehmenspräsentation</a:t>
            </a:r>
          </a:p>
        </p:txBody>
      </p:sp>
      <p:sp>
        <p:nvSpPr>
          <p:cNvPr id="10" name="Foliennummernplatzhalter 9">
            <a:extLst>
              <a:ext uri="{FF2B5EF4-FFF2-40B4-BE49-F238E27FC236}">
                <a16:creationId xmlns:a16="http://schemas.microsoft.com/office/drawing/2014/main" id="{8BCA71AF-13D3-DEF3-982E-DABE18A86D7A}"/>
              </a:ext>
            </a:extLst>
          </p:cNvPr>
          <p:cNvSpPr>
            <a:spLocks noGrp="1"/>
          </p:cNvSpPr>
          <p:nvPr>
            <p:ph type="sldNum" sz="quarter" idx="24"/>
          </p:nvPr>
        </p:nvSpPr>
        <p:spPr bwMode="gray"/>
        <p:txBody>
          <a:bodyPr/>
          <a:lstStyle/>
          <a:p>
            <a:fld id="{1A2CFED3-8F6A-4617-95E5-25D21BE72BEB}" type="slidenum">
              <a:rPr lang="de-DE" smtClean="0"/>
              <a:pPr/>
              <a:t>‹#›</a:t>
            </a:fld>
            <a:endParaRPr lang="de-DE" dirty="0"/>
          </a:p>
        </p:txBody>
      </p:sp>
      <p:sp>
        <p:nvSpPr>
          <p:cNvPr id="18" name="Titel 17">
            <a:extLst>
              <a:ext uri="{FF2B5EF4-FFF2-40B4-BE49-F238E27FC236}">
                <a16:creationId xmlns:a16="http://schemas.microsoft.com/office/drawing/2014/main" id="{6023EBA1-72FB-BF63-81E7-70C351FE1EF8}"/>
              </a:ext>
            </a:extLst>
          </p:cNvPr>
          <p:cNvSpPr>
            <a:spLocks noGrp="1"/>
          </p:cNvSpPr>
          <p:nvPr>
            <p:ph type="title"/>
          </p:nvPr>
        </p:nvSpPr>
        <p:spPr bwMode="gray"/>
        <p:txBody>
          <a:bodyPr/>
          <a:lstStyle/>
          <a:p>
            <a:r>
              <a:rPr lang="en-US"/>
              <a:t>Click to edit Master title style</a:t>
            </a:r>
            <a:endParaRPr lang="de-DE"/>
          </a:p>
        </p:txBody>
      </p:sp>
      <p:sp>
        <p:nvSpPr>
          <p:cNvPr id="19" name="Textplatzhalter 2">
            <a:extLst>
              <a:ext uri="{FF2B5EF4-FFF2-40B4-BE49-F238E27FC236}">
                <a16:creationId xmlns:a16="http://schemas.microsoft.com/office/drawing/2014/main" id="{262D9672-BC34-A917-5E06-E890BC482435}"/>
              </a:ext>
            </a:extLst>
          </p:cNvPr>
          <p:cNvSpPr>
            <a:spLocks noGrp="1"/>
          </p:cNvSpPr>
          <p:nvPr>
            <p:ph type="body" idx="25" hasCustomPrompt="1"/>
          </p:nvPr>
        </p:nvSpPr>
        <p:spPr bwMode="gray">
          <a:xfrm>
            <a:off x="695324" y="6164725"/>
            <a:ext cx="10801351" cy="144000"/>
          </a:xfrm>
        </p:spPr>
        <p:txBody>
          <a:bodyPr vert="horz" lIns="0" tIns="0" rIns="0" bIns="0" rtlCol="0" anchor="b">
            <a:noAutofit/>
          </a:bodyPr>
          <a:lstStyle>
            <a:lvl1pPr algn="l">
              <a:spcBef>
                <a:spcPts val="0"/>
              </a:spcBef>
              <a:spcAft>
                <a:spcPts val="0"/>
              </a:spcAft>
              <a:defRPr lang="de-DE" sz="1000" b="0" cap="none" spc="0" baseline="0" dirty="0" smtClean="0">
                <a:solidFill>
                  <a:schemeClr val="bg2">
                    <a:lumMod val="50000"/>
                  </a:schemeClr>
                </a:solidFill>
                <a:latin typeface="+mn-lt"/>
              </a:defRPr>
            </a:lvl1pPr>
          </a:lstStyle>
          <a:p>
            <a:pPr lvl="0"/>
            <a:r>
              <a:rPr lang="de-DE" dirty="0"/>
              <a:t>Fußzeile für Diagramme</a:t>
            </a:r>
          </a:p>
        </p:txBody>
      </p:sp>
    </p:spTree>
    <p:extLst>
      <p:ext uri="{BB962C8B-B14F-4D97-AF65-F5344CB8AC3E}">
        <p14:creationId xmlns:p14="http://schemas.microsoft.com/office/powerpoint/2010/main" val="3185150821"/>
      </p:ext>
    </p:extLst>
  </p:cSld>
  <p:clrMapOvr>
    <a:masterClrMapping/>
  </p:clrMapOvr>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pecials">
    <p:bg>
      <p:bgPr>
        <a:solidFill>
          <a:schemeClr val="accent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730C8E6-C12C-34F9-BB33-B1A08B0CFE36}"/>
              </a:ext>
            </a:extLst>
          </p:cNvPr>
          <p:cNvSpPr txBox="1"/>
          <p:nvPr userDrawn="1"/>
        </p:nvSpPr>
        <p:spPr>
          <a:xfrm>
            <a:off x="695325" y="2996952"/>
            <a:ext cx="10801350" cy="864096"/>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300"/>
              </a:spcBef>
              <a:spcAft>
                <a:spcPts val="300"/>
              </a:spcAft>
              <a:buClrTx/>
              <a:buSzTx/>
              <a:buFontTx/>
              <a:buNone/>
              <a:tabLst/>
            </a:pPr>
            <a:r>
              <a:rPr kumimoji="0" lang="de-DE" sz="9600" b="0" i="0" u="none" strike="noStrike" kern="1200" cap="none" spc="40" normalizeH="0" baseline="0" noProof="0" dirty="0">
                <a:ln>
                  <a:noFill/>
                </a:ln>
                <a:solidFill>
                  <a:schemeClr val="bg1"/>
                </a:solidFill>
                <a:effectLst/>
                <a:uLnTx/>
                <a:uFillTx/>
                <a:latin typeface="+mj-lt"/>
                <a:ea typeface="+mn-ea"/>
                <a:cs typeface="+mn-cs"/>
              </a:rPr>
              <a:t>Specials</a:t>
            </a:r>
          </a:p>
        </p:txBody>
      </p:sp>
      <p:pic>
        <p:nvPicPr>
          <p:cNvPr id="2" name="Grafik 1">
            <a:extLst>
              <a:ext uri="{FF2B5EF4-FFF2-40B4-BE49-F238E27FC236}">
                <a16:creationId xmlns:a16="http://schemas.microsoft.com/office/drawing/2014/main" id="{71B9BE91-805A-0C44-403E-2862DD1CE0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613601" y="553447"/>
            <a:ext cx="918000" cy="209082"/>
          </a:xfrm>
          <a:prstGeom prst="rect">
            <a:avLst/>
          </a:prstGeom>
        </p:spPr>
      </p:pic>
    </p:spTree>
    <p:extLst>
      <p:ext uri="{BB962C8B-B14F-4D97-AF65-F5344CB8AC3E}">
        <p14:creationId xmlns:p14="http://schemas.microsoft.com/office/powerpoint/2010/main" val="23065719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cheln">
    <p:spTree>
      <p:nvGrpSpPr>
        <p:cNvPr id="1" name=""/>
        <p:cNvGrpSpPr/>
        <p:nvPr/>
      </p:nvGrpSpPr>
      <p:grpSpPr>
        <a:xfrm>
          <a:off x="0" y="0"/>
          <a:ext cx="0" cy="0"/>
          <a:chOff x="0" y="0"/>
          <a:chExt cx="0" cy="0"/>
        </a:xfrm>
      </p:grpSpPr>
      <p:sp>
        <p:nvSpPr>
          <p:cNvPr id="107" name="Textplatzhalter 2">
            <a:extLst>
              <a:ext uri="{FF2B5EF4-FFF2-40B4-BE49-F238E27FC236}">
                <a16:creationId xmlns:a16="http://schemas.microsoft.com/office/drawing/2014/main" id="{7F5C0A34-9F06-E2AE-6E3B-6B503C9CC38F}"/>
              </a:ext>
            </a:extLst>
          </p:cNvPr>
          <p:cNvSpPr>
            <a:spLocks noGrp="1"/>
          </p:cNvSpPr>
          <p:nvPr>
            <p:ph type="body" idx="37" hasCustomPrompt="1"/>
          </p:nvPr>
        </p:nvSpPr>
        <p:spPr bwMode="gray">
          <a:xfrm>
            <a:off x="4080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08" name="Textplatzhalter 2">
            <a:extLst>
              <a:ext uri="{FF2B5EF4-FFF2-40B4-BE49-F238E27FC236}">
                <a16:creationId xmlns:a16="http://schemas.microsoft.com/office/drawing/2014/main" id="{6E1B46D9-5F8D-5833-6459-8C39241272A8}"/>
              </a:ext>
            </a:extLst>
          </p:cNvPr>
          <p:cNvSpPr>
            <a:spLocks noGrp="1"/>
          </p:cNvSpPr>
          <p:nvPr>
            <p:ph type="body" idx="72" hasCustomPrompt="1"/>
          </p:nvPr>
        </p:nvSpPr>
        <p:spPr bwMode="gray">
          <a:xfrm>
            <a:off x="23448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09" name="Textplatzhalter 2">
            <a:extLst>
              <a:ext uri="{FF2B5EF4-FFF2-40B4-BE49-F238E27FC236}">
                <a16:creationId xmlns:a16="http://schemas.microsoft.com/office/drawing/2014/main" id="{00AB6026-9357-5B20-A170-240382695489}"/>
              </a:ext>
            </a:extLst>
          </p:cNvPr>
          <p:cNvSpPr>
            <a:spLocks noGrp="1"/>
          </p:cNvSpPr>
          <p:nvPr>
            <p:ph type="body" idx="73" hasCustomPrompt="1"/>
          </p:nvPr>
        </p:nvSpPr>
        <p:spPr bwMode="gray">
          <a:xfrm>
            <a:off x="42816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0" name="Textplatzhalter 2">
            <a:extLst>
              <a:ext uri="{FF2B5EF4-FFF2-40B4-BE49-F238E27FC236}">
                <a16:creationId xmlns:a16="http://schemas.microsoft.com/office/drawing/2014/main" id="{A2CED726-664B-4FA0-45B8-F56130868DD7}"/>
              </a:ext>
            </a:extLst>
          </p:cNvPr>
          <p:cNvSpPr>
            <a:spLocks noGrp="1"/>
          </p:cNvSpPr>
          <p:nvPr>
            <p:ph type="body" idx="74" hasCustomPrompt="1"/>
          </p:nvPr>
        </p:nvSpPr>
        <p:spPr bwMode="gray">
          <a:xfrm>
            <a:off x="62184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1" name="Textplatzhalter 2">
            <a:extLst>
              <a:ext uri="{FF2B5EF4-FFF2-40B4-BE49-F238E27FC236}">
                <a16:creationId xmlns:a16="http://schemas.microsoft.com/office/drawing/2014/main" id="{8F768C48-1230-DE98-EBF5-9729D84394B6}"/>
              </a:ext>
            </a:extLst>
          </p:cNvPr>
          <p:cNvSpPr>
            <a:spLocks noGrp="1"/>
          </p:cNvSpPr>
          <p:nvPr>
            <p:ph type="body" idx="75" hasCustomPrompt="1"/>
          </p:nvPr>
        </p:nvSpPr>
        <p:spPr bwMode="gray">
          <a:xfrm>
            <a:off x="81552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2" name="Textplatzhalter 2">
            <a:extLst>
              <a:ext uri="{FF2B5EF4-FFF2-40B4-BE49-F238E27FC236}">
                <a16:creationId xmlns:a16="http://schemas.microsoft.com/office/drawing/2014/main" id="{FBF64BED-6E42-364A-664E-0A3E94869C91}"/>
              </a:ext>
            </a:extLst>
          </p:cNvPr>
          <p:cNvSpPr>
            <a:spLocks noGrp="1"/>
          </p:cNvSpPr>
          <p:nvPr>
            <p:ph type="body" idx="76" hasCustomPrompt="1"/>
          </p:nvPr>
        </p:nvSpPr>
        <p:spPr bwMode="gray">
          <a:xfrm>
            <a:off x="100920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3" name="Textplatzhalter 2">
            <a:extLst>
              <a:ext uri="{FF2B5EF4-FFF2-40B4-BE49-F238E27FC236}">
                <a16:creationId xmlns:a16="http://schemas.microsoft.com/office/drawing/2014/main" id="{912D3BC5-14BC-F65C-FC3A-054DB54174B0}"/>
              </a:ext>
            </a:extLst>
          </p:cNvPr>
          <p:cNvSpPr>
            <a:spLocks noGrp="1"/>
          </p:cNvSpPr>
          <p:nvPr>
            <p:ph type="body" idx="77" hasCustomPrompt="1"/>
          </p:nvPr>
        </p:nvSpPr>
        <p:spPr bwMode="gray">
          <a:xfrm>
            <a:off x="4080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4" name="Textplatzhalter 2">
            <a:extLst>
              <a:ext uri="{FF2B5EF4-FFF2-40B4-BE49-F238E27FC236}">
                <a16:creationId xmlns:a16="http://schemas.microsoft.com/office/drawing/2014/main" id="{04662874-FD49-F622-C1BD-2EE6C079F974}"/>
              </a:ext>
            </a:extLst>
          </p:cNvPr>
          <p:cNvSpPr>
            <a:spLocks noGrp="1"/>
          </p:cNvSpPr>
          <p:nvPr>
            <p:ph type="body" idx="78" hasCustomPrompt="1"/>
          </p:nvPr>
        </p:nvSpPr>
        <p:spPr bwMode="gray">
          <a:xfrm>
            <a:off x="23328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5" name="Textplatzhalter 2">
            <a:extLst>
              <a:ext uri="{FF2B5EF4-FFF2-40B4-BE49-F238E27FC236}">
                <a16:creationId xmlns:a16="http://schemas.microsoft.com/office/drawing/2014/main" id="{8D2A123A-EBFD-70E7-BB4B-ABAD62A401B4}"/>
              </a:ext>
            </a:extLst>
          </p:cNvPr>
          <p:cNvSpPr>
            <a:spLocks noGrp="1"/>
          </p:cNvSpPr>
          <p:nvPr>
            <p:ph type="body" idx="79" hasCustomPrompt="1"/>
          </p:nvPr>
        </p:nvSpPr>
        <p:spPr bwMode="gray">
          <a:xfrm>
            <a:off x="81432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6" name="Textplatzhalter 2">
            <a:extLst>
              <a:ext uri="{FF2B5EF4-FFF2-40B4-BE49-F238E27FC236}">
                <a16:creationId xmlns:a16="http://schemas.microsoft.com/office/drawing/2014/main" id="{8AD81E1D-BA65-A5CA-98E4-196549F6974A}"/>
              </a:ext>
            </a:extLst>
          </p:cNvPr>
          <p:cNvSpPr>
            <a:spLocks noGrp="1"/>
          </p:cNvSpPr>
          <p:nvPr>
            <p:ph type="body" idx="80" hasCustomPrompt="1"/>
          </p:nvPr>
        </p:nvSpPr>
        <p:spPr bwMode="gray">
          <a:xfrm>
            <a:off x="100920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7" name="Textplatzhalter 2">
            <a:extLst>
              <a:ext uri="{FF2B5EF4-FFF2-40B4-BE49-F238E27FC236}">
                <a16:creationId xmlns:a16="http://schemas.microsoft.com/office/drawing/2014/main" id="{BE084A8F-05D8-DB77-095B-F8B26B1F99EB}"/>
              </a:ext>
            </a:extLst>
          </p:cNvPr>
          <p:cNvSpPr>
            <a:spLocks noGrp="1"/>
          </p:cNvSpPr>
          <p:nvPr>
            <p:ph type="body" idx="81" hasCustomPrompt="1"/>
          </p:nvPr>
        </p:nvSpPr>
        <p:spPr bwMode="gray">
          <a:xfrm>
            <a:off x="4080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8" name="Textplatzhalter 2">
            <a:extLst>
              <a:ext uri="{FF2B5EF4-FFF2-40B4-BE49-F238E27FC236}">
                <a16:creationId xmlns:a16="http://schemas.microsoft.com/office/drawing/2014/main" id="{B786D8A6-0981-11CD-E14E-A170A0CD1758}"/>
              </a:ext>
            </a:extLst>
          </p:cNvPr>
          <p:cNvSpPr>
            <a:spLocks noGrp="1"/>
          </p:cNvSpPr>
          <p:nvPr>
            <p:ph type="body" idx="82" hasCustomPrompt="1"/>
          </p:nvPr>
        </p:nvSpPr>
        <p:spPr bwMode="gray">
          <a:xfrm>
            <a:off x="23328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9" name="Textplatzhalter 2">
            <a:extLst>
              <a:ext uri="{FF2B5EF4-FFF2-40B4-BE49-F238E27FC236}">
                <a16:creationId xmlns:a16="http://schemas.microsoft.com/office/drawing/2014/main" id="{48ED1DF7-5F22-8848-8366-B0BEC69358EE}"/>
              </a:ext>
            </a:extLst>
          </p:cNvPr>
          <p:cNvSpPr>
            <a:spLocks noGrp="1"/>
          </p:cNvSpPr>
          <p:nvPr>
            <p:ph type="body" idx="83" hasCustomPrompt="1"/>
          </p:nvPr>
        </p:nvSpPr>
        <p:spPr bwMode="gray">
          <a:xfrm>
            <a:off x="42696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20" name="Textplatzhalter 2">
            <a:extLst>
              <a:ext uri="{FF2B5EF4-FFF2-40B4-BE49-F238E27FC236}">
                <a16:creationId xmlns:a16="http://schemas.microsoft.com/office/drawing/2014/main" id="{556D5404-F293-5714-430B-B9E2D808E5F5}"/>
              </a:ext>
            </a:extLst>
          </p:cNvPr>
          <p:cNvSpPr>
            <a:spLocks noGrp="1"/>
          </p:cNvSpPr>
          <p:nvPr>
            <p:ph type="body" idx="84" hasCustomPrompt="1"/>
          </p:nvPr>
        </p:nvSpPr>
        <p:spPr bwMode="gray">
          <a:xfrm>
            <a:off x="62064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21" name="Textplatzhalter 2">
            <a:extLst>
              <a:ext uri="{FF2B5EF4-FFF2-40B4-BE49-F238E27FC236}">
                <a16:creationId xmlns:a16="http://schemas.microsoft.com/office/drawing/2014/main" id="{78AAD5D0-7C1F-1AC6-9AE5-3E549992FA87}"/>
              </a:ext>
            </a:extLst>
          </p:cNvPr>
          <p:cNvSpPr>
            <a:spLocks noGrp="1"/>
          </p:cNvSpPr>
          <p:nvPr>
            <p:ph type="body" idx="85" hasCustomPrompt="1"/>
          </p:nvPr>
        </p:nvSpPr>
        <p:spPr bwMode="gray">
          <a:xfrm>
            <a:off x="81432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22" name="Textplatzhalter 2">
            <a:extLst>
              <a:ext uri="{FF2B5EF4-FFF2-40B4-BE49-F238E27FC236}">
                <a16:creationId xmlns:a16="http://schemas.microsoft.com/office/drawing/2014/main" id="{65371FA3-0D35-E101-D85B-ED9CCEA9E128}"/>
              </a:ext>
            </a:extLst>
          </p:cNvPr>
          <p:cNvSpPr>
            <a:spLocks noGrp="1"/>
          </p:cNvSpPr>
          <p:nvPr>
            <p:ph type="body" idx="86" hasCustomPrompt="1"/>
          </p:nvPr>
        </p:nvSpPr>
        <p:spPr bwMode="gray">
          <a:xfrm>
            <a:off x="100920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5" name="Datumsplatzhalter 4">
            <a:extLst>
              <a:ext uri="{FF2B5EF4-FFF2-40B4-BE49-F238E27FC236}">
                <a16:creationId xmlns:a16="http://schemas.microsoft.com/office/drawing/2014/main" id="{2881522A-6D75-A2F0-BCAF-40BDC84DAE7B}"/>
              </a:ext>
            </a:extLst>
          </p:cNvPr>
          <p:cNvSpPr>
            <a:spLocks noGrp="1"/>
          </p:cNvSpPr>
          <p:nvPr>
            <p:ph type="dt" sz="half" idx="87"/>
          </p:nvPr>
        </p:nvSpPr>
        <p:spPr bwMode="gray"/>
        <p:txBody>
          <a:bodyPr/>
          <a:lstStyle/>
          <a:p>
            <a:fld id="{9E2B9F34-56FA-484F-BF35-683BE469C0E3}" type="datetime1">
              <a:rPr lang="de-DE" smtClean="0"/>
              <a:pPr/>
              <a:t>30.11.2024</a:t>
            </a:fld>
            <a:endParaRPr lang="de-DE" dirty="0"/>
          </a:p>
        </p:txBody>
      </p:sp>
      <p:sp>
        <p:nvSpPr>
          <p:cNvPr id="6" name="Fußzeilenplatzhalter 5">
            <a:extLst>
              <a:ext uri="{FF2B5EF4-FFF2-40B4-BE49-F238E27FC236}">
                <a16:creationId xmlns:a16="http://schemas.microsoft.com/office/drawing/2014/main" id="{C0D88533-0BD5-4278-845A-5BDDD4A907BB}"/>
              </a:ext>
            </a:extLst>
          </p:cNvPr>
          <p:cNvSpPr>
            <a:spLocks noGrp="1"/>
          </p:cNvSpPr>
          <p:nvPr>
            <p:ph type="ftr" sz="quarter" idx="88"/>
          </p:nvPr>
        </p:nvSpPr>
        <p:spPr bwMode="gray"/>
        <p:txBody>
          <a:bodyPr/>
          <a:lstStyle/>
          <a:p>
            <a:r>
              <a:rPr lang="de-DE" dirty="0"/>
              <a:t>Unternehmenspräsentation</a:t>
            </a:r>
          </a:p>
        </p:txBody>
      </p:sp>
      <p:sp>
        <p:nvSpPr>
          <p:cNvPr id="7" name="Foliennummernplatzhalter 6">
            <a:extLst>
              <a:ext uri="{FF2B5EF4-FFF2-40B4-BE49-F238E27FC236}">
                <a16:creationId xmlns:a16="http://schemas.microsoft.com/office/drawing/2014/main" id="{50BF8496-05E9-672B-2752-3F482CCD2835}"/>
              </a:ext>
            </a:extLst>
          </p:cNvPr>
          <p:cNvSpPr>
            <a:spLocks noGrp="1"/>
          </p:cNvSpPr>
          <p:nvPr>
            <p:ph type="sldNum" sz="quarter" idx="89"/>
          </p:nvPr>
        </p:nvSpPr>
        <p:spPr bwMode="gray"/>
        <p:txBody>
          <a:bodyPr/>
          <a:lstStyle/>
          <a:p>
            <a:fld id="{1A2CFED3-8F6A-4617-95E5-25D21BE72BEB}" type="slidenum">
              <a:rPr lang="de-DE" smtClean="0"/>
              <a:pPr/>
              <a:t>‹#›</a:t>
            </a:fld>
            <a:endParaRPr lang="de-DE" dirty="0"/>
          </a:p>
        </p:txBody>
      </p:sp>
      <p:pic>
        <p:nvPicPr>
          <p:cNvPr id="2" name="Grafik 1">
            <a:extLst>
              <a:ext uri="{FF2B5EF4-FFF2-40B4-BE49-F238E27FC236}">
                <a16:creationId xmlns:a16="http://schemas.microsoft.com/office/drawing/2014/main" id="{057C5EA1-BEF5-0D22-BEEB-248C0DEA45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4377948" y="3046700"/>
            <a:ext cx="3436105" cy="782601"/>
          </a:xfrm>
          <a:prstGeom prst="rect">
            <a:avLst/>
          </a:prstGeom>
        </p:spPr>
      </p:pic>
    </p:spTree>
    <p:extLst>
      <p:ext uri="{BB962C8B-B14F-4D97-AF65-F5344CB8AC3E}">
        <p14:creationId xmlns:p14="http://schemas.microsoft.com/office/powerpoint/2010/main" val="27082703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cheln + Bilder">
    <p:spTree>
      <p:nvGrpSpPr>
        <p:cNvPr id="1" name=""/>
        <p:cNvGrpSpPr/>
        <p:nvPr/>
      </p:nvGrpSpPr>
      <p:grpSpPr>
        <a:xfrm>
          <a:off x="0" y="0"/>
          <a:ext cx="0" cy="0"/>
          <a:chOff x="0" y="0"/>
          <a:chExt cx="0" cy="0"/>
        </a:xfrm>
      </p:grpSpPr>
      <p:sp>
        <p:nvSpPr>
          <p:cNvPr id="4" name="Bildplatzhalter 2">
            <a:extLst>
              <a:ext uri="{FF2B5EF4-FFF2-40B4-BE49-F238E27FC236}">
                <a16:creationId xmlns:a16="http://schemas.microsoft.com/office/drawing/2014/main" id="{B2A446D0-3D1B-F2FC-AFBD-EF5FDA627151}"/>
              </a:ext>
            </a:extLst>
          </p:cNvPr>
          <p:cNvSpPr>
            <a:spLocks noGrp="1"/>
          </p:cNvSpPr>
          <p:nvPr>
            <p:ph type="pic" sz="quarter" idx="91"/>
          </p:nvPr>
        </p:nvSpPr>
        <p:spPr bwMode="gray">
          <a:xfrm>
            <a:off x="10092000" y="540000"/>
            <a:ext cx="1692000" cy="1692000"/>
          </a:xfrm>
          <a:solidFill>
            <a:schemeClr val="bg1">
              <a:lumMod val="95000"/>
            </a:schemeClr>
          </a:solidFill>
        </p:spPr>
        <p:txBody>
          <a:bodyPr/>
          <a:lstStyle/>
          <a:p>
            <a:r>
              <a:rPr lang="en-US"/>
              <a:t>Click icon to add picture</a:t>
            </a:r>
            <a:endParaRPr lang="de-DE" dirty="0"/>
          </a:p>
        </p:txBody>
      </p:sp>
      <p:sp>
        <p:nvSpPr>
          <p:cNvPr id="8" name="Bildplatzhalter 2">
            <a:extLst>
              <a:ext uri="{FF2B5EF4-FFF2-40B4-BE49-F238E27FC236}">
                <a16:creationId xmlns:a16="http://schemas.microsoft.com/office/drawing/2014/main" id="{025D43E5-3383-5120-4647-D29CD6ED0A81}"/>
              </a:ext>
            </a:extLst>
          </p:cNvPr>
          <p:cNvSpPr>
            <a:spLocks noGrp="1"/>
          </p:cNvSpPr>
          <p:nvPr>
            <p:ph type="pic" sz="quarter" idx="92"/>
          </p:nvPr>
        </p:nvSpPr>
        <p:spPr bwMode="gray">
          <a:xfrm>
            <a:off x="10092000" y="2592000"/>
            <a:ext cx="1692000" cy="1692000"/>
          </a:xfrm>
          <a:solidFill>
            <a:schemeClr val="bg1">
              <a:lumMod val="95000"/>
            </a:schemeClr>
          </a:solidFill>
        </p:spPr>
        <p:txBody>
          <a:bodyPr/>
          <a:lstStyle/>
          <a:p>
            <a:r>
              <a:rPr lang="en-US"/>
              <a:t>Click icon to add picture</a:t>
            </a:r>
            <a:endParaRPr lang="de-DE" dirty="0"/>
          </a:p>
        </p:txBody>
      </p:sp>
      <p:sp>
        <p:nvSpPr>
          <p:cNvPr id="9" name="Bildplatzhalter 2">
            <a:extLst>
              <a:ext uri="{FF2B5EF4-FFF2-40B4-BE49-F238E27FC236}">
                <a16:creationId xmlns:a16="http://schemas.microsoft.com/office/drawing/2014/main" id="{8C6949B7-8FF5-C544-367D-413ABB987C7F}"/>
              </a:ext>
            </a:extLst>
          </p:cNvPr>
          <p:cNvSpPr>
            <a:spLocks noGrp="1"/>
          </p:cNvSpPr>
          <p:nvPr>
            <p:ph type="pic" sz="quarter" idx="93"/>
          </p:nvPr>
        </p:nvSpPr>
        <p:spPr bwMode="gray">
          <a:xfrm>
            <a:off x="10092000" y="4615224"/>
            <a:ext cx="1692000" cy="1692000"/>
          </a:xfrm>
          <a:solidFill>
            <a:schemeClr val="bg1">
              <a:lumMod val="95000"/>
            </a:schemeClr>
          </a:solidFill>
        </p:spPr>
        <p:txBody>
          <a:bodyPr/>
          <a:lstStyle/>
          <a:p>
            <a:r>
              <a:rPr lang="en-US"/>
              <a:t>Click icon to add picture</a:t>
            </a:r>
            <a:endParaRPr lang="de-DE" dirty="0"/>
          </a:p>
        </p:txBody>
      </p:sp>
      <p:sp>
        <p:nvSpPr>
          <p:cNvPr id="10" name="Bildplatzhalter 2">
            <a:extLst>
              <a:ext uri="{FF2B5EF4-FFF2-40B4-BE49-F238E27FC236}">
                <a16:creationId xmlns:a16="http://schemas.microsoft.com/office/drawing/2014/main" id="{C323FB26-AC74-4613-AB61-5345CC66B76C}"/>
              </a:ext>
            </a:extLst>
          </p:cNvPr>
          <p:cNvSpPr>
            <a:spLocks noGrp="1"/>
          </p:cNvSpPr>
          <p:nvPr>
            <p:ph type="pic" sz="quarter" idx="94"/>
          </p:nvPr>
        </p:nvSpPr>
        <p:spPr bwMode="gray">
          <a:xfrm>
            <a:off x="4269600" y="4615224"/>
            <a:ext cx="1692000" cy="1692000"/>
          </a:xfrm>
          <a:solidFill>
            <a:schemeClr val="bg1">
              <a:lumMod val="95000"/>
            </a:schemeClr>
          </a:solidFill>
        </p:spPr>
        <p:txBody>
          <a:bodyPr/>
          <a:lstStyle/>
          <a:p>
            <a:r>
              <a:rPr lang="en-US"/>
              <a:t>Click icon to add picture</a:t>
            </a:r>
            <a:endParaRPr lang="de-DE" dirty="0"/>
          </a:p>
        </p:txBody>
      </p:sp>
      <p:sp>
        <p:nvSpPr>
          <p:cNvPr id="11" name="Bildplatzhalter 2">
            <a:extLst>
              <a:ext uri="{FF2B5EF4-FFF2-40B4-BE49-F238E27FC236}">
                <a16:creationId xmlns:a16="http://schemas.microsoft.com/office/drawing/2014/main" id="{5CEB91F8-6470-D3F4-DDD8-8B94E7630266}"/>
              </a:ext>
            </a:extLst>
          </p:cNvPr>
          <p:cNvSpPr>
            <a:spLocks noGrp="1"/>
          </p:cNvSpPr>
          <p:nvPr>
            <p:ph type="pic" sz="quarter" idx="95"/>
          </p:nvPr>
        </p:nvSpPr>
        <p:spPr bwMode="gray">
          <a:xfrm>
            <a:off x="6206400" y="4615224"/>
            <a:ext cx="1692000" cy="1692000"/>
          </a:xfrm>
          <a:solidFill>
            <a:schemeClr val="bg1">
              <a:lumMod val="95000"/>
            </a:schemeClr>
          </a:solidFill>
        </p:spPr>
        <p:txBody>
          <a:bodyPr/>
          <a:lstStyle/>
          <a:p>
            <a:r>
              <a:rPr lang="en-US"/>
              <a:t>Click icon to add picture</a:t>
            </a:r>
            <a:endParaRPr lang="de-DE" dirty="0"/>
          </a:p>
        </p:txBody>
      </p:sp>
      <p:sp>
        <p:nvSpPr>
          <p:cNvPr id="3" name="Bildplatzhalter 2">
            <a:extLst>
              <a:ext uri="{FF2B5EF4-FFF2-40B4-BE49-F238E27FC236}">
                <a16:creationId xmlns:a16="http://schemas.microsoft.com/office/drawing/2014/main" id="{5C43F999-B202-6E22-55A9-A6304294405C}"/>
              </a:ext>
            </a:extLst>
          </p:cNvPr>
          <p:cNvSpPr>
            <a:spLocks noGrp="1"/>
          </p:cNvSpPr>
          <p:nvPr>
            <p:ph type="pic" sz="quarter" idx="90"/>
          </p:nvPr>
        </p:nvSpPr>
        <p:spPr bwMode="gray">
          <a:xfrm>
            <a:off x="408000" y="540000"/>
            <a:ext cx="3628800" cy="1692000"/>
          </a:xfrm>
          <a:solidFill>
            <a:schemeClr val="bg1">
              <a:lumMod val="95000"/>
            </a:schemeClr>
          </a:solidFill>
        </p:spPr>
        <p:txBody>
          <a:bodyPr/>
          <a:lstStyle/>
          <a:p>
            <a:r>
              <a:rPr lang="en-US"/>
              <a:t>Click icon to add picture</a:t>
            </a:r>
            <a:endParaRPr lang="de-DE" dirty="0"/>
          </a:p>
        </p:txBody>
      </p:sp>
      <p:sp>
        <p:nvSpPr>
          <p:cNvPr id="109" name="Textplatzhalter 2">
            <a:extLst>
              <a:ext uri="{FF2B5EF4-FFF2-40B4-BE49-F238E27FC236}">
                <a16:creationId xmlns:a16="http://schemas.microsoft.com/office/drawing/2014/main" id="{00AB6026-9357-5B20-A170-240382695489}"/>
              </a:ext>
            </a:extLst>
          </p:cNvPr>
          <p:cNvSpPr>
            <a:spLocks noGrp="1"/>
          </p:cNvSpPr>
          <p:nvPr>
            <p:ph type="body" idx="73" hasCustomPrompt="1"/>
          </p:nvPr>
        </p:nvSpPr>
        <p:spPr bwMode="gray">
          <a:xfrm>
            <a:off x="42816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0" name="Textplatzhalter 2">
            <a:extLst>
              <a:ext uri="{FF2B5EF4-FFF2-40B4-BE49-F238E27FC236}">
                <a16:creationId xmlns:a16="http://schemas.microsoft.com/office/drawing/2014/main" id="{A2CED726-664B-4FA0-45B8-F56130868DD7}"/>
              </a:ext>
            </a:extLst>
          </p:cNvPr>
          <p:cNvSpPr>
            <a:spLocks noGrp="1"/>
          </p:cNvSpPr>
          <p:nvPr>
            <p:ph type="body" idx="74" hasCustomPrompt="1"/>
          </p:nvPr>
        </p:nvSpPr>
        <p:spPr bwMode="gray">
          <a:xfrm>
            <a:off x="62184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1" name="Textplatzhalter 2">
            <a:extLst>
              <a:ext uri="{FF2B5EF4-FFF2-40B4-BE49-F238E27FC236}">
                <a16:creationId xmlns:a16="http://schemas.microsoft.com/office/drawing/2014/main" id="{8F768C48-1230-DE98-EBF5-9729D84394B6}"/>
              </a:ext>
            </a:extLst>
          </p:cNvPr>
          <p:cNvSpPr>
            <a:spLocks noGrp="1"/>
          </p:cNvSpPr>
          <p:nvPr>
            <p:ph type="body" idx="75" hasCustomPrompt="1"/>
          </p:nvPr>
        </p:nvSpPr>
        <p:spPr bwMode="gray">
          <a:xfrm>
            <a:off x="8155200" y="540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3" name="Textplatzhalter 2">
            <a:extLst>
              <a:ext uri="{FF2B5EF4-FFF2-40B4-BE49-F238E27FC236}">
                <a16:creationId xmlns:a16="http://schemas.microsoft.com/office/drawing/2014/main" id="{912D3BC5-14BC-F65C-FC3A-054DB54174B0}"/>
              </a:ext>
            </a:extLst>
          </p:cNvPr>
          <p:cNvSpPr>
            <a:spLocks noGrp="1"/>
          </p:cNvSpPr>
          <p:nvPr>
            <p:ph type="body" idx="77" hasCustomPrompt="1"/>
          </p:nvPr>
        </p:nvSpPr>
        <p:spPr bwMode="gray">
          <a:xfrm>
            <a:off x="4080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4" name="Textplatzhalter 2">
            <a:extLst>
              <a:ext uri="{FF2B5EF4-FFF2-40B4-BE49-F238E27FC236}">
                <a16:creationId xmlns:a16="http://schemas.microsoft.com/office/drawing/2014/main" id="{04662874-FD49-F622-C1BD-2EE6C079F974}"/>
              </a:ext>
            </a:extLst>
          </p:cNvPr>
          <p:cNvSpPr>
            <a:spLocks noGrp="1"/>
          </p:cNvSpPr>
          <p:nvPr>
            <p:ph type="body" idx="78" hasCustomPrompt="1"/>
          </p:nvPr>
        </p:nvSpPr>
        <p:spPr bwMode="gray">
          <a:xfrm>
            <a:off x="23328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5" name="Textplatzhalter 2">
            <a:extLst>
              <a:ext uri="{FF2B5EF4-FFF2-40B4-BE49-F238E27FC236}">
                <a16:creationId xmlns:a16="http://schemas.microsoft.com/office/drawing/2014/main" id="{8D2A123A-EBFD-70E7-BB4B-ABAD62A401B4}"/>
              </a:ext>
            </a:extLst>
          </p:cNvPr>
          <p:cNvSpPr>
            <a:spLocks noGrp="1"/>
          </p:cNvSpPr>
          <p:nvPr>
            <p:ph type="body" idx="79" hasCustomPrompt="1"/>
          </p:nvPr>
        </p:nvSpPr>
        <p:spPr bwMode="gray">
          <a:xfrm>
            <a:off x="8143200" y="2592000"/>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7" name="Textplatzhalter 2">
            <a:extLst>
              <a:ext uri="{FF2B5EF4-FFF2-40B4-BE49-F238E27FC236}">
                <a16:creationId xmlns:a16="http://schemas.microsoft.com/office/drawing/2014/main" id="{BE084A8F-05D8-DB77-095B-F8B26B1F99EB}"/>
              </a:ext>
            </a:extLst>
          </p:cNvPr>
          <p:cNvSpPr>
            <a:spLocks noGrp="1"/>
          </p:cNvSpPr>
          <p:nvPr>
            <p:ph type="body" idx="81" hasCustomPrompt="1"/>
          </p:nvPr>
        </p:nvSpPr>
        <p:spPr bwMode="gray">
          <a:xfrm>
            <a:off x="4080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18" name="Textplatzhalter 2">
            <a:extLst>
              <a:ext uri="{FF2B5EF4-FFF2-40B4-BE49-F238E27FC236}">
                <a16:creationId xmlns:a16="http://schemas.microsoft.com/office/drawing/2014/main" id="{B786D8A6-0981-11CD-E14E-A170A0CD1758}"/>
              </a:ext>
            </a:extLst>
          </p:cNvPr>
          <p:cNvSpPr>
            <a:spLocks noGrp="1"/>
          </p:cNvSpPr>
          <p:nvPr>
            <p:ph type="body" idx="82" hasCustomPrompt="1"/>
          </p:nvPr>
        </p:nvSpPr>
        <p:spPr bwMode="gray">
          <a:xfrm>
            <a:off x="23328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121" name="Textplatzhalter 2">
            <a:extLst>
              <a:ext uri="{FF2B5EF4-FFF2-40B4-BE49-F238E27FC236}">
                <a16:creationId xmlns:a16="http://schemas.microsoft.com/office/drawing/2014/main" id="{78AAD5D0-7C1F-1AC6-9AE5-3E549992FA87}"/>
              </a:ext>
            </a:extLst>
          </p:cNvPr>
          <p:cNvSpPr>
            <a:spLocks noGrp="1"/>
          </p:cNvSpPr>
          <p:nvPr>
            <p:ph type="body" idx="85" hasCustomPrompt="1"/>
          </p:nvPr>
        </p:nvSpPr>
        <p:spPr bwMode="gray">
          <a:xfrm>
            <a:off x="8143200" y="4615224"/>
            <a:ext cx="1692000" cy="1692000"/>
          </a:xfrm>
          <a:solidFill>
            <a:schemeClr val="accent1"/>
          </a:solidFill>
        </p:spPr>
        <p:txBody>
          <a:bodyPr lIns="18000" tIns="18000" rIns="18000" bIns="18000" anchor="ctr" anchorCtr="0"/>
          <a:lstStyle>
            <a:lvl1pPr marL="0" indent="0" algn="ctr">
              <a:lnSpc>
                <a:spcPts val="2800"/>
              </a:lnSpc>
              <a:spcBef>
                <a:spcPts val="400"/>
              </a:spcBef>
              <a:spcAft>
                <a:spcPts val="400"/>
              </a:spcAft>
              <a:buNone/>
              <a:defRPr sz="3600" b="1"/>
            </a:lvl1pPr>
            <a:lvl2pPr marL="0" indent="0" algn="ctr">
              <a:lnSpc>
                <a:spcPts val="2000"/>
              </a:lnSpc>
              <a:spcBef>
                <a:spcPts val="400"/>
              </a:spcBef>
              <a:spcAft>
                <a:spcPts val="1200"/>
              </a:spcAft>
              <a:buNone/>
              <a:defRPr sz="2000" b="0">
                <a:solidFill>
                  <a:schemeClr val="bg1"/>
                </a:solidFill>
              </a:defRPr>
            </a:lvl2pPr>
            <a:lvl3pPr marL="0" indent="0" algn="ctr">
              <a:lnSpc>
                <a:spcPts val="2000"/>
              </a:lnSpc>
              <a:spcBef>
                <a:spcPts val="400"/>
              </a:spcBef>
              <a:spcAft>
                <a:spcPts val="1200"/>
              </a:spcAft>
              <a:buNone/>
              <a:defRPr lang="de-DE" sz="2000" b="0" kern="1200" spc="40" baseline="0" noProof="0" dirty="0" smtClean="0">
                <a:solidFill>
                  <a:schemeClr val="tx1"/>
                </a:solidFill>
                <a:latin typeface="+mn-lt"/>
                <a:ea typeface="+mn-ea"/>
                <a:cs typeface="+mn-cs"/>
              </a:defRPr>
            </a:lvl3pPr>
            <a:lvl4pPr marL="0" indent="0" algn="ctr">
              <a:lnSpc>
                <a:spcPts val="2800"/>
              </a:lnSpc>
              <a:buNone/>
              <a:defRPr lang="de-DE" sz="3600" b="1" kern="1200" spc="40" baseline="0" noProof="0" dirty="0" smtClean="0">
                <a:solidFill>
                  <a:schemeClr val="bg1"/>
                </a:solidFill>
                <a:latin typeface="+mn-lt"/>
                <a:ea typeface="+mn-ea"/>
                <a:cs typeface="+mn-cs"/>
              </a:defRPr>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a:p>
            <a:pPr lvl="1"/>
            <a:r>
              <a:rPr lang="de-DE" dirty="0"/>
              <a:t>Text </a:t>
            </a:r>
            <a:r>
              <a:rPr lang="de-DE" dirty="0" err="1"/>
              <a:t>text</a:t>
            </a:r>
            <a:r>
              <a:rPr lang="de-DE" dirty="0"/>
              <a:t> </a:t>
            </a:r>
            <a:r>
              <a:rPr lang="de-DE" dirty="0" err="1"/>
              <a:t>text</a:t>
            </a:r>
            <a:endParaRPr lang="de-DE" dirty="0"/>
          </a:p>
          <a:p>
            <a:pPr lvl="2"/>
            <a:r>
              <a:rPr lang="de-DE" dirty="0"/>
              <a:t>Text </a:t>
            </a:r>
            <a:r>
              <a:rPr lang="de-DE" dirty="0" err="1"/>
              <a:t>text</a:t>
            </a:r>
            <a:r>
              <a:rPr lang="de-DE" dirty="0"/>
              <a:t> </a:t>
            </a:r>
            <a:r>
              <a:rPr lang="de-DE" dirty="0" err="1"/>
              <a:t>text</a:t>
            </a:r>
            <a:endParaRPr lang="de-DE" dirty="0"/>
          </a:p>
          <a:p>
            <a:pPr lvl="3"/>
            <a:r>
              <a:rPr lang="de-DE" dirty="0"/>
              <a:t>Text</a:t>
            </a:r>
          </a:p>
        </p:txBody>
      </p:sp>
      <p:sp>
        <p:nvSpPr>
          <p:cNvPr id="5" name="Datumsplatzhalter 4">
            <a:extLst>
              <a:ext uri="{FF2B5EF4-FFF2-40B4-BE49-F238E27FC236}">
                <a16:creationId xmlns:a16="http://schemas.microsoft.com/office/drawing/2014/main" id="{2881522A-6D75-A2F0-BCAF-40BDC84DAE7B}"/>
              </a:ext>
            </a:extLst>
          </p:cNvPr>
          <p:cNvSpPr>
            <a:spLocks noGrp="1"/>
          </p:cNvSpPr>
          <p:nvPr>
            <p:ph type="dt" sz="half" idx="87"/>
          </p:nvPr>
        </p:nvSpPr>
        <p:spPr bwMode="gray"/>
        <p:txBody>
          <a:bodyPr/>
          <a:lstStyle/>
          <a:p>
            <a:fld id="{9E2B9F34-56FA-484F-BF35-683BE469C0E3}" type="datetime1">
              <a:rPr lang="de-DE" smtClean="0"/>
              <a:pPr/>
              <a:t>30.11.2024</a:t>
            </a:fld>
            <a:endParaRPr lang="de-DE" dirty="0"/>
          </a:p>
        </p:txBody>
      </p:sp>
      <p:sp>
        <p:nvSpPr>
          <p:cNvPr id="6" name="Fußzeilenplatzhalter 5">
            <a:extLst>
              <a:ext uri="{FF2B5EF4-FFF2-40B4-BE49-F238E27FC236}">
                <a16:creationId xmlns:a16="http://schemas.microsoft.com/office/drawing/2014/main" id="{C0D88533-0BD5-4278-845A-5BDDD4A907BB}"/>
              </a:ext>
            </a:extLst>
          </p:cNvPr>
          <p:cNvSpPr>
            <a:spLocks noGrp="1"/>
          </p:cNvSpPr>
          <p:nvPr>
            <p:ph type="ftr" sz="quarter" idx="88"/>
          </p:nvPr>
        </p:nvSpPr>
        <p:spPr bwMode="gray"/>
        <p:txBody>
          <a:bodyPr/>
          <a:lstStyle/>
          <a:p>
            <a:r>
              <a:rPr lang="de-DE" dirty="0"/>
              <a:t>Unternehmenspräsentation</a:t>
            </a:r>
          </a:p>
        </p:txBody>
      </p:sp>
      <p:sp>
        <p:nvSpPr>
          <p:cNvPr id="7" name="Foliennummernplatzhalter 6">
            <a:extLst>
              <a:ext uri="{FF2B5EF4-FFF2-40B4-BE49-F238E27FC236}">
                <a16:creationId xmlns:a16="http://schemas.microsoft.com/office/drawing/2014/main" id="{50BF8496-05E9-672B-2752-3F482CCD2835}"/>
              </a:ext>
            </a:extLst>
          </p:cNvPr>
          <p:cNvSpPr>
            <a:spLocks noGrp="1"/>
          </p:cNvSpPr>
          <p:nvPr>
            <p:ph type="sldNum" sz="quarter" idx="89"/>
          </p:nvPr>
        </p:nvSpPr>
        <p:spPr bwMode="gray"/>
        <p:txBody>
          <a:bodyPr/>
          <a:lstStyle/>
          <a:p>
            <a:fld id="{1A2CFED3-8F6A-4617-95E5-25D21BE72BEB}" type="slidenum">
              <a:rPr lang="de-DE" smtClean="0"/>
              <a:pPr/>
              <a:t>‹#›</a:t>
            </a:fld>
            <a:endParaRPr lang="de-DE" dirty="0"/>
          </a:p>
        </p:txBody>
      </p:sp>
      <p:pic>
        <p:nvPicPr>
          <p:cNvPr id="2" name="Grafik 1">
            <a:extLst>
              <a:ext uri="{FF2B5EF4-FFF2-40B4-BE49-F238E27FC236}">
                <a16:creationId xmlns:a16="http://schemas.microsoft.com/office/drawing/2014/main" id="{AD358D3D-C753-A235-B152-B06E32D057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4377948" y="3046700"/>
            <a:ext cx="3436105" cy="782601"/>
          </a:xfrm>
          <a:prstGeom prst="rect">
            <a:avLst/>
          </a:prstGeom>
        </p:spPr>
      </p:pic>
    </p:spTree>
    <p:extLst>
      <p:ext uri="{BB962C8B-B14F-4D97-AF65-F5344CB8AC3E}">
        <p14:creationId xmlns:p14="http://schemas.microsoft.com/office/powerpoint/2010/main" val="16189963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ojektstatus">
    <p:spTree>
      <p:nvGrpSpPr>
        <p:cNvPr id="1" name=""/>
        <p:cNvGrpSpPr/>
        <p:nvPr/>
      </p:nvGrpSpPr>
      <p:grpSpPr>
        <a:xfrm>
          <a:off x="0" y="0"/>
          <a:ext cx="0" cy="0"/>
          <a:chOff x="0" y="0"/>
          <a:chExt cx="0" cy="0"/>
        </a:xfrm>
      </p:grpSpPr>
      <p:sp>
        <p:nvSpPr>
          <p:cNvPr id="30" name="Textplatzhalter 29">
            <a:extLst>
              <a:ext uri="{FF2B5EF4-FFF2-40B4-BE49-F238E27FC236}">
                <a16:creationId xmlns:a16="http://schemas.microsoft.com/office/drawing/2014/main" id="{E3EA9582-BAD1-D424-5356-10438F3609FB}"/>
              </a:ext>
            </a:extLst>
          </p:cNvPr>
          <p:cNvSpPr>
            <a:spLocks noGrp="1"/>
          </p:cNvSpPr>
          <p:nvPr>
            <p:ph type="body" sz="quarter" idx="10"/>
          </p:nvPr>
        </p:nvSpPr>
        <p:spPr bwMode="gray">
          <a:xfrm>
            <a:off x="447015" y="2924725"/>
            <a:ext cx="2736000" cy="3384000"/>
          </a:xfrm>
          <a:solidFill>
            <a:srgbClr val="003C3C"/>
          </a:solidFill>
          <a:ln>
            <a:noFill/>
          </a:ln>
        </p:spPr>
        <p:txBody>
          <a:bodyPr vert="horz" lIns="252000" tIns="180000" rIns="108000" bIns="0" rtlCol="0">
            <a:noAutofit/>
          </a:bodyPr>
          <a:lstStyle>
            <a:lvl1pPr>
              <a:defRPr lang="de-DE" dirty="0">
                <a:solidFill>
                  <a:srgbClr val="2DFA87"/>
                </a:solidFill>
              </a:defRPr>
            </a:lvl1pPr>
            <a:lvl2pPr>
              <a:defRPr lang="de-DE" dirty="0">
                <a:solidFill>
                  <a:srgbClr val="2DFA87"/>
                </a:solidFill>
              </a:defRPr>
            </a:lvl2pPr>
            <a:lvl3pPr>
              <a:defRPr lang="de-DE" dirty="0">
                <a:solidFill>
                  <a:srgbClr val="2DFA87"/>
                </a:solidFill>
              </a:defRPr>
            </a:lvl3pPr>
            <a:lvl4pPr>
              <a:defRPr lang="de-DE" dirty="0">
                <a:solidFill>
                  <a:srgbClr val="2DFA87"/>
                </a:solidFill>
              </a:defRPr>
            </a:lvl4pPr>
            <a:lvl5pPr>
              <a:defRPr lang="de-DE" dirty="0">
                <a:solidFill>
                  <a:srgbClr val="2DFA8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5" name="Textplatzhalter 2">
            <a:extLst>
              <a:ext uri="{FF2B5EF4-FFF2-40B4-BE49-F238E27FC236}">
                <a16:creationId xmlns:a16="http://schemas.microsoft.com/office/drawing/2014/main" id="{E1B8DF92-D9BE-90F6-9636-9DBC3D8EA265}"/>
              </a:ext>
            </a:extLst>
          </p:cNvPr>
          <p:cNvSpPr>
            <a:spLocks noGrp="1"/>
          </p:cNvSpPr>
          <p:nvPr>
            <p:ph type="body" idx="1" hasCustomPrompt="1"/>
          </p:nvPr>
        </p:nvSpPr>
        <p:spPr bwMode="gray">
          <a:xfrm>
            <a:off x="695325" y="1150523"/>
            <a:ext cx="2160000" cy="324000"/>
          </a:xfrm>
        </p:spPr>
        <p:txBody>
          <a:bodyPr anchor="t"/>
          <a:lstStyle>
            <a:lvl1pPr marL="0" indent="0">
              <a:spcBef>
                <a:spcPts val="0"/>
              </a:spcBef>
              <a:spcAft>
                <a:spcPts val="0"/>
              </a:spcAft>
              <a:buNone/>
              <a:defRPr sz="18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p:txBody>
      </p:sp>
      <p:sp>
        <p:nvSpPr>
          <p:cNvPr id="46" name="Textplatzhalter 2">
            <a:extLst>
              <a:ext uri="{FF2B5EF4-FFF2-40B4-BE49-F238E27FC236}">
                <a16:creationId xmlns:a16="http://schemas.microsoft.com/office/drawing/2014/main" id="{706908F2-5302-21F6-E782-9E5DCFBBE295}"/>
              </a:ext>
            </a:extLst>
          </p:cNvPr>
          <p:cNvSpPr>
            <a:spLocks noGrp="1"/>
          </p:cNvSpPr>
          <p:nvPr>
            <p:ph type="body" idx="11" hasCustomPrompt="1"/>
          </p:nvPr>
        </p:nvSpPr>
        <p:spPr bwMode="gray">
          <a:xfrm>
            <a:off x="3575775" y="1150523"/>
            <a:ext cx="2160000" cy="324000"/>
          </a:xfrm>
        </p:spPr>
        <p:txBody>
          <a:bodyPr anchor="t"/>
          <a:lstStyle>
            <a:lvl1pPr marL="0" indent="0">
              <a:spcBef>
                <a:spcPts val="0"/>
              </a:spcBef>
              <a:spcAft>
                <a:spcPts val="0"/>
              </a:spcAft>
              <a:buNone/>
              <a:defRPr sz="18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p:txBody>
      </p:sp>
      <p:sp>
        <p:nvSpPr>
          <p:cNvPr id="47" name="Textplatzhalter 2">
            <a:extLst>
              <a:ext uri="{FF2B5EF4-FFF2-40B4-BE49-F238E27FC236}">
                <a16:creationId xmlns:a16="http://schemas.microsoft.com/office/drawing/2014/main" id="{3F25E55D-AF0D-8C62-D89B-E626CE2D6AFB}"/>
              </a:ext>
            </a:extLst>
          </p:cNvPr>
          <p:cNvSpPr>
            <a:spLocks noGrp="1"/>
          </p:cNvSpPr>
          <p:nvPr>
            <p:ph type="body" idx="12" hasCustomPrompt="1"/>
          </p:nvPr>
        </p:nvSpPr>
        <p:spPr bwMode="gray">
          <a:xfrm>
            <a:off x="6456225" y="1150523"/>
            <a:ext cx="2160000" cy="324000"/>
          </a:xfrm>
        </p:spPr>
        <p:txBody>
          <a:bodyPr anchor="t"/>
          <a:lstStyle>
            <a:lvl1pPr marL="0" indent="0">
              <a:spcBef>
                <a:spcPts val="0"/>
              </a:spcBef>
              <a:spcAft>
                <a:spcPts val="0"/>
              </a:spcAft>
              <a:buNone/>
              <a:defRPr sz="18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p:txBody>
      </p:sp>
      <p:sp>
        <p:nvSpPr>
          <p:cNvPr id="3" name="Textplatzhalter 29">
            <a:extLst>
              <a:ext uri="{FF2B5EF4-FFF2-40B4-BE49-F238E27FC236}">
                <a16:creationId xmlns:a16="http://schemas.microsoft.com/office/drawing/2014/main" id="{C6924ABD-ECFB-A180-1B7C-02D86AD9CEED}"/>
              </a:ext>
            </a:extLst>
          </p:cNvPr>
          <p:cNvSpPr>
            <a:spLocks noGrp="1"/>
          </p:cNvSpPr>
          <p:nvPr>
            <p:ph type="body" sz="quarter" idx="17"/>
          </p:nvPr>
        </p:nvSpPr>
        <p:spPr bwMode="gray">
          <a:xfrm>
            <a:off x="3327465" y="2924725"/>
            <a:ext cx="2736000" cy="3384000"/>
          </a:xfrm>
          <a:solidFill>
            <a:srgbClr val="003C3C"/>
          </a:solidFill>
          <a:ln>
            <a:noFill/>
          </a:ln>
        </p:spPr>
        <p:txBody>
          <a:bodyPr vert="horz" lIns="252000" tIns="180000" rIns="108000" bIns="0" rtlCol="0">
            <a:noAutofit/>
          </a:bodyPr>
          <a:lstStyle>
            <a:lvl1pPr>
              <a:defRPr lang="de-DE" dirty="0">
                <a:solidFill>
                  <a:srgbClr val="2DFA87"/>
                </a:solidFill>
              </a:defRPr>
            </a:lvl1pPr>
            <a:lvl2pPr>
              <a:defRPr lang="de-DE" dirty="0">
                <a:solidFill>
                  <a:srgbClr val="2DFA87"/>
                </a:solidFill>
              </a:defRPr>
            </a:lvl2pPr>
            <a:lvl3pPr>
              <a:defRPr lang="de-DE" dirty="0">
                <a:solidFill>
                  <a:srgbClr val="2DFA87"/>
                </a:solidFill>
              </a:defRPr>
            </a:lvl3pPr>
            <a:lvl4pPr>
              <a:defRPr lang="de-DE" dirty="0">
                <a:solidFill>
                  <a:srgbClr val="2DFA87"/>
                </a:solidFill>
              </a:defRPr>
            </a:lvl4pPr>
            <a:lvl5pPr>
              <a:defRPr lang="de-DE" dirty="0">
                <a:solidFill>
                  <a:srgbClr val="2DFA8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Textplatzhalter 29">
            <a:extLst>
              <a:ext uri="{FF2B5EF4-FFF2-40B4-BE49-F238E27FC236}">
                <a16:creationId xmlns:a16="http://schemas.microsoft.com/office/drawing/2014/main" id="{BC7F4F59-1E27-D77F-CB20-42456ED9A349}"/>
              </a:ext>
            </a:extLst>
          </p:cNvPr>
          <p:cNvSpPr>
            <a:spLocks noGrp="1"/>
          </p:cNvSpPr>
          <p:nvPr>
            <p:ph type="body" sz="quarter" idx="18"/>
          </p:nvPr>
        </p:nvSpPr>
        <p:spPr bwMode="gray">
          <a:xfrm>
            <a:off x="6207915" y="2924725"/>
            <a:ext cx="2736000" cy="3384000"/>
          </a:xfrm>
          <a:ln>
            <a:noFill/>
          </a:ln>
        </p:spPr>
        <p:txBody>
          <a:bodyPr vert="horz" lIns="252000" tIns="180000" rIns="10800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platzhalter 29">
            <a:extLst>
              <a:ext uri="{FF2B5EF4-FFF2-40B4-BE49-F238E27FC236}">
                <a16:creationId xmlns:a16="http://schemas.microsoft.com/office/drawing/2014/main" id="{F36CCE52-1C9D-A3FA-1534-2AE1702DD2E9}"/>
              </a:ext>
            </a:extLst>
          </p:cNvPr>
          <p:cNvSpPr>
            <a:spLocks noGrp="1"/>
          </p:cNvSpPr>
          <p:nvPr>
            <p:ph type="body" sz="quarter" idx="19"/>
          </p:nvPr>
        </p:nvSpPr>
        <p:spPr bwMode="gray">
          <a:xfrm>
            <a:off x="9088366" y="2924725"/>
            <a:ext cx="2736000" cy="3384000"/>
          </a:xfrm>
          <a:ln>
            <a:noFill/>
          </a:ln>
        </p:spPr>
        <p:txBody>
          <a:bodyPr vert="horz" lIns="252000" tIns="180000" rIns="10800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2">
            <a:extLst>
              <a:ext uri="{FF2B5EF4-FFF2-40B4-BE49-F238E27FC236}">
                <a16:creationId xmlns:a16="http://schemas.microsoft.com/office/drawing/2014/main" id="{1EE16A5B-6DAD-5CC6-D2F2-6A9A6D8AD8B8}"/>
              </a:ext>
            </a:extLst>
          </p:cNvPr>
          <p:cNvSpPr>
            <a:spLocks noGrp="1"/>
          </p:cNvSpPr>
          <p:nvPr>
            <p:ph type="body" idx="20" hasCustomPrompt="1"/>
          </p:nvPr>
        </p:nvSpPr>
        <p:spPr bwMode="gray">
          <a:xfrm>
            <a:off x="9336676" y="1150523"/>
            <a:ext cx="2160000" cy="324000"/>
          </a:xfrm>
        </p:spPr>
        <p:txBody>
          <a:bodyPr anchor="t"/>
          <a:lstStyle>
            <a:lvl1pPr marL="0" indent="0">
              <a:spcBef>
                <a:spcPts val="0"/>
              </a:spcBef>
              <a:spcAft>
                <a:spcPts val="0"/>
              </a:spcAft>
              <a:buNone/>
              <a:defRPr sz="18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a:t>
            </a:r>
          </a:p>
        </p:txBody>
      </p:sp>
      <p:sp>
        <p:nvSpPr>
          <p:cNvPr id="17" name="Diagrammplatzhalter 16">
            <a:extLst>
              <a:ext uri="{FF2B5EF4-FFF2-40B4-BE49-F238E27FC236}">
                <a16:creationId xmlns:a16="http://schemas.microsoft.com/office/drawing/2014/main" id="{CE3B997E-C89E-5F0F-B515-BB7FC3812477}"/>
              </a:ext>
            </a:extLst>
          </p:cNvPr>
          <p:cNvSpPr>
            <a:spLocks noGrp="1"/>
          </p:cNvSpPr>
          <p:nvPr>
            <p:ph type="chart" sz="quarter" idx="21"/>
          </p:nvPr>
        </p:nvSpPr>
        <p:spPr bwMode="gray">
          <a:xfrm>
            <a:off x="695325" y="1643008"/>
            <a:ext cx="2160000" cy="972000"/>
          </a:xfrm>
        </p:spPr>
        <p:txBody>
          <a:bodyPr/>
          <a:lstStyle>
            <a:lvl1pPr algn="l">
              <a:defRPr/>
            </a:lvl1pPr>
          </a:lstStyle>
          <a:p>
            <a:r>
              <a:rPr lang="en-US"/>
              <a:t>Click icon to add chart</a:t>
            </a:r>
            <a:endParaRPr lang="de-DE" dirty="0"/>
          </a:p>
        </p:txBody>
      </p:sp>
      <p:sp>
        <p:nvSpPr>
          <p:cNvPr id="18" name="Diagrammplatzhalter 16">
            <a:extLst>
              <a:ext uri="{FF2B5EF4-FFF2-40B4-BE49-F238E27FC236}">
                <a16:creationId xmlns:a16="http://schemas.microsoft.com/office/drawing/2014/main" id="{3D9C5BF6-51BB-251D-476A-508322A82F02}"/>
              </a:ext>
            </a:extLst>
          </p:cNvPr>
          <p:cNvSpPr>
            <a:spLocks noGrp="1"/>
          </p:cNvSpPr>
          <p:nvPr>
            <p:ph type="chart" sz="quarter" idx="22"/>
          </p:nvPr>
        </p:nvSpPr>
        <p:spPr bwMode="gray">
          <a:xfrm>
            <a:off x="3575775" y="1643008"/>
            <a:ext cx="2160000" cy="972000"/>
          </a:xfrm>
        </p:spPr>
        <p:txBody>
          <a:bodyPr/>
          <a:lstStyle>
            <a:lvl1pPr algn="l">
              <a:defRPr/>
            </a:lvl1pPr>
          </a:lstStyle>
          <a:p>
            <a:r>
              <a:rPr lang="en-US"/>
              <a:t>Click icon to add chart</a:t>
            </a:r>
            <a:endParaRPr lang="de-DE" dirty="0"/>
          </a:p>
        </p:txBody>
      </p:sp>
      <p:sp>
        <p:nvSpPr>
          <p:cNvPr id="19" name="Diagrammplatzhalter 16">
            <a:extLst>
              <a:ext uri="{FF2B5EF4-FFF2-40B4-BE49-F238E27FC236}">
                <a16:creationId xmlns:a16="http://schemas.microsoft.com/office/drawing/2014/main" id="{57936FB2-C7D8-1702-1070-2900B501E891}"/>
              </a:ext>
            </a:extLst>
          </p:cNvPr>
          <p:cNvSpPr>
            <a:spLocks noGrp="1"/>
          </p:cNvSpPr>
          <p:nvPr>
            <p:ph type="chart" sz="quarter" idx="23"/>
          </p:nvPr>
        </p:nvSpPr>
        <p:spPr bwMode="gray">
          <a:xfrm>
            <a:off x="6456225" y="1643008"/>
            <a:ext cx="2160000" cy="972000"/>
          </a:xfrm>
        </p:spPr>
        <p:txBody>
          <a:bodyPr/>
          <a:lstStyle>
            <a:lvl1pPr algn="l">
              <a:defRPr/>
            </a:lvl1pPr>
          </a:lstStyle>
          <a:p>
            <a:r>
              <a:rPr lang="en-US"/>
              <a:t>Click icon to add chart</a:t>
            </a:r>
            <a:endParaRPr lang="de-DE" dirty="0"/>
          </a:p>
        </p:txBody>
      </p:sp>
      <p:sp>
        <p:nvSpPr>
          <p:cNvPr id="20" name="Diagrammplatzhalter 16">
            <a:extLst>
              <a:ext uri="{FF2B5EF4-FFF2-40B4-BE49-F238E27FC236}">
                <a16:creationId xmlns:a16="http://schemas.microsoft.com/office/drawing/2014/main" id="{8DCD520B-DB3F-C25D-240E-F4F5288DF8BE}"/>
              </a:ext>
            </a:extLst>
          </p:cNvPr>
          <p:cNvSpPr>
            <a:spLocks noGrp="1"/>
          </p:cNvSpPr>
          <p:nvPr>
            <p:ph type="chart" sz="quarter" idx="24"/>
          </p:nvPr>
        </p:nvSpPr>
        <p:spPr bwMode="gray">
          <a:xfrm>
            <a:off x="9336676" y="1643008"/>
            <a:ext cx="2160000" cy="972000"/>
          </a:xfrm>
        </p:spPr>
        <p:txBody>
          <a:bodyPr/>
          <a:lstStyle>
            <a:lvl1pPr algn="l">
              <a:defRPr/>
            </a:lvl1pPr>
          </a:lstStyle>
          <a:p>
            <a:r>
              <a:rPr lang="en-US"/>
              <a:t>Click icon to add chart</a:t>
            </a:r>
            <a:endParaRPr lang="de-DE" dirty="0"/>
          </a:p>
        </p:txBody>
      </p:sp>
      <p:sp>
        <p:nvSpPr>
          <p:cNvPr id="10" name="Datumsplatzhalter 9">
            <a:extLst>
              <a:ext uri="{FF2B5EF4-FFF2-40B4-BE49-F238E27FC236}">
                <a16:creationId xmlns:a16="http://schemas.microsoft.com/office/drawing/2014/main" id="{A74AAAAD-548D-DC00-C47F-61B23444C846}"/>
              </a:ext>
            </a:extLst>
          </p:cNvPr>
          <p:cNvSpPr>
            <a:spLocks noGrp="1"/>
          </p:cNvSpPr>
          <p:nvPr>
            <p:ph type="dt" sz="half" idx="25"/>
          </p:nvPr>
        </p:nvSpPr>
        <p:spPr bwMode="gray"/>
        <p:txBody>
          <a:bodyPr/>
          <a:lstStyle/>
          <a:p>
            <a:fld id="{9E2B9F34-56FA-484F-BF35-683BE469C0E3}" type="datetime1">
              <a:rPr lang="de-DE" smtClean="0"/>
              <a:pPr/>
              <a:t>30.11.2024</a:t>
            </a:fld>
            <a:endParaRPr lang="de-DE" dirty="0"/>
          </a:p>
        </p:txBody>
      </p:sp>
      <p:sp>
        <p:nvSpPr>
          <p:cNvPr id="11" name="Fußzeilenplatzhalter 10">
            <a:extLst>
              <a:ext uri="{FF2B5EF4-FFF2-40B4-BE49-F238E27FC236}">
                <a16:creationId xmlns:a16="http://schemas.microsoft.com/office/drawing/2014/main" id="{3A4426C3-8CF6-1E08-08F7-CB78375D9EF8}"/>
              </a:ext>
            </a:extLst>
          </p:cNvPr>
          <p:cNvSpPr>
            <a:spLocks noGrp="1"/>
          </p:cNvSpPr>
          <p:nvPr>
            <p:ph type="ftr" sz="quarter" idx="26"/>
          </p:nvPr>
        </p:nvSpPr>
        <p:spPr bwMode="gray">
          <a:xfrm>
            <a:off x="4296676" y="6498000"/>
            <a:ext cx="7200000" cy="180000"/>
          </a:xfrm>
        </p:spPr>
        <p:txBody>
          <a:bodyPr/>
          <a:lstStyle/>
          <a:p>
            <a:r>
              <a:rPr lang="de-DE" dirty="0"/>
              <a:t>Unternehmenspräsentation</a:t>
            </a:r>
          </a:p>
        </p:txBody>
      </p:sp>
      <p:sp>
        <p:nvSpPr>
          <p:cNvPr id="12" name="Foliennummernplatzhalter 11">
            <a:extLst>
              <a:ext uri="{FF2B5EF4-FFF2-40B4-BE49-F238E27FC236}">
                <a16:creationId xmlns:a16="http://schemas.microsoft.com/office/drawing/2014/main" id="{438DC24F-0ADD-8CB0-BE45-57E46FFB8522}"/>
              </a:ext>
            </a:extLst>
          </p:cNvPr>
          <p:cNvSpPr>
            <a:spLocks noGrp="1"/>
          </p:cNvSpPr>
          <p:nvPr>
            <p:ph type="sldNum" sz="quarter" idx="27"/>
          </p:nvPr>
        </p:nvSpPr>
        <p:spPr bwMode="gray"/>
        <p:txBody>
          <a:bodyPr/>
          <a:lstStyle/>
          <a:p>
            <a:fld id="{1A2CFED3-8F6A-4617-95E5-25D21BE72BEB}" type="slidenum">
              <a:rPr lang="de-DE" smtClean="0"/>
              <a:pPr/>
              <a:t>‹#›</a:t>
            </a:fld>
            <a:endParaRPr lang="de-DE" dirty="0"/>
          </a:p>
        </p:txBody>
      </p:sp>
      <p:sp>
        <p:nvSpPr>
          <p:cNvPr id="13" name="Titel 12">
            <a:extLst>
              <a:ext uri="{FF2B5EF4-FFF2-40B4-BE49-F238E27FC236}">
                <a16:creationId xmlns:a16="http://schemas.microsoft.com/office/drawing/2014/main" id="{0C0BFDEE-4CD5-4B49-8EFA-E70538D52CBB}"/>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281157134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Zeitplan">
    <p:spTree>
      <p:nvGrpSpPr>
        <p:cNvPr id="1" name=""/>
        <p:cNvGrpSpPr/>
        <p:nvPr/>
      </p:nvGrpSpPr>
      <p:grpSpPr>
        <a:xfrm>
          <a:off x="0" y="0"/>
          <a:ext cx="0" cy="0"/>
          <a:chOff x="0" y="0"/>
          <a:chExt cx="0" cy="0"/>
        </a:xfrm>
      </p:grpSpPr>
      <p:sp>
        <p:nvSpPr>
          <p:cNvPr id="12" name="Tabellenplatzhalter 11">
            <a:extLst>
              <a:ext uri="{FF2B5EF4-FFF2-40B4-BE49-F238E27FC236}">
                <a16:creationId xmlns:a16="http://schemas.microsoft.com/office/drawing/2014/main" id="{EB529025-A5EC-0DE9-8FBE-98CA33B11B99}"/>
              </a:ext>
            </a:extLst>
          </p:cNvPr>
          <p:cNvSpPr>
            <a:spLocks noGrp="1"/>
          </p:cNvSpPr>
          <p:nvPr>
            <p:ph type="tbl" sz="quarter" idx="25"/>
          </p:nvPr>
        </p:nvSpPr>
        <p:spPr bwMode="gray">
          <a:xfrm>
            <a:off x="695325" y="1844675"/>
            <a:ext cx="8280400" cy="4464050"/>
          </a:xfrm>
        </p:spPr>
        <p:txBody>
          <a:bodyPr/>
          <a:lstStyle>
            <a:lvl1pPr>
              <a:defRPr sz="1800" b="1" cap="none" baseline="0">
                <a:latin typeface="+mj-lt"/>
              </a:defRPr>
            </a:lvl1pPr>
          </a:lstStyle>
          <a:p>
            <a:r>
              <a:rPr lang="en-US" cap="none" baseline="0"/>
              <a:t>Click icon to add table</a:t>
            </a:r>
            <a:endParaRPr lang="de-DE" dirty="0"/>
          </a:p>
        </p:txBody>
      </p:sp>
      <p:sp>
        <p:nvSpPr>
          <p:cNvPr id="14" name="Diagrammplatzhalter 16">
            <a:extLst>
              <a:ext uri="{FF2B5EF4-FFF2-40B4-BE49-F238E27FC236}">
                <a16:creationId xmlns:a16="http://schemas.microsoft.com/office/drawing/2014/main" id="{0DD645BE-D0D4-0A5F-4125-9F8CD617A808}"/>
              </a:ext>
            </a:extLst>
          </p:cNvPr>
          <p:cNvSpPr>
            <a:spLocks noGrp="1"/>
          </p:cNvSpPr>
          <p:nvPr>
            <p:ph type="chart" sz="quarter" idx="24"/>
          </p:nvPr>
        </p:nvSpPr>
        <p:spPr bwMode="gray">
          <a:xfrm>
            <a:off x="9192676" y="1844675"/>
            <a:ext cx="2304000" cy="647452"/>
          </a:xfrm>
        </p:spPr>
        <p:txBody>
          <a:bodyPr/>
          <a:lstStyle/>
          <a:p>
            <a:r>
              <a:rPr lang="en-US"/>
              <a:t>Click icon to add chart</a:t>
            </a:r>
            <a:endParaRPr lang="de-DE" dirty="0"/>
          </a:p>
        </p:txBody>
      </p:sp>
      <p:sp>
        <p:nvSpPr>
          <p:cNvPr id="15" name="Diagrammplatzhalter 16">
            <a:extLst>
              <a:ext uri="{FF2B5EF4-FFF2-40B4-BE49-F238E27FC236}">
                <a16:creationId xmlns:a16="http://schemas.microsoft.com/office/drawing/2014/main" id="{8BE8228E-244E-598E-D02A-C630556C254A}"/>
              </a:ext>
            </a:extLst>
          </p:cNvPr>
          <p:cNvSpPr>
            <a:spLocks noGrp="1"/>
          </p:cNvSpPr>
          <p:nvPr>
            <p:ph type="chart" sz="quarter" idx="26"/>
          </p:nvPr>
        </p:nvSpPr>
        <p:spPr bwMode="gray">
          <a:xfrm>
            <a:off x="9192676" y="2607995"/>
            <a:ext cx="2304000" cy="647452"/>
          </a:xfrm>
        </p:spPr>
        <p:txBody>
          <a:bodyPr/>
          <a:lstStyle/>
          <a:p>
            <a:r>
              <a:rPr lang="en-US"/>
              <a:t>Click icon to add chart</a:t>
            </a:r>
            <a:endParaRPr lang="de-DE" dirty="0"/>
          </a:p>
        </p:txBody>
      </p:sp>
      <p:sp>
        <p:nvSpPr>
          <p:cNvPr id="17" name="Diagrammplatzhalter 16">
            <a:extLst>
              <a:ext uri="{FF2B5EF4-FFF2-40B4-BE49-F238E27FC236}">
                <a16:creationId xmlns:a16="http://schemas.microsoft.com/office/drawing/2014/main" id="{64723A69-155A-0921-548B-9BE1A75B63B6}"/>
              </a:ext>
            </a:extLst>
          </p:cNvPr>
          <p:cNvSpPr>
            <a:spLocks noGrp="1"/>
          </p:cNvSpPr>
          <p:nvPr>
            <p:ph type="chart" sz="quarter" idx="27"/>
          </p:nvPr>
        </p:nvSpPr>
        <p:spPr bwMode="gray">
          <a:xfrm>
            <a:off x="9192676" y="3371315"/>
            <a:ext cx="2304000" cy="647452"/>
          </a:xfrm>
        </p:spPr>
        <p:txBody>
          <a:bodyPr/>
          <a:lstStyle/>
          <a:p>
            <a:r>
              <a:rPr lang="en-US"/>
              <a:t>Click icon to add chart</a:t>
            </a:r>
            <a:endParaRPr lang="de-DE" dirty="0"/>
          </a:p>
        </p:txBody>
      </p:sp>
      <p:sp>
        <p:nvSpPr>
          <p:cNvPr id="18" name="Diagrammplatzhalter 16">
            <a:extLst>
              <a:ext uri="{FF2B5EF4-FFF2-40B4-BE49-F238E27FC236}">
                <a16:creationId xmlns:a16="http://schemas.microsoft.com/office/drawing/2014/main" id="{A2D9A16D-B76A-F217-3E9F-671EA8DAF7D4}"/>
              </a:ext>
            </a:extLst>
          </p:cNvPr>
          <p:cNvSpPr>
            <a:spLocks noGrp="1"/>
          </p:cNvSpPr>
          <p:nvPr>
            <p:ph type="chart" sz="quarter" idx="28"/>
          </p:nvPr>
        </p:nvSpPr>
        <p:spPr bwMode="gray">
          <a:xfrm>
            <a:off x="9192676" y="4134635"/>
            <a:ext cx="2304000" cy="647452"/>
          </a:xfrm>
        </p:spPr>
        <p:txBody>
          <a:bodyPr/>
          <a:lstStyle/>
          <a:p>
            <a:r>
              <a:rPr lang="en-US"/>
              <a:t>Click icon to add chart</a:t>
            </a:r>
            <a:endParaRPr lang="de-DE" dirty="0"/>
          </a:p>
        </p:txBody>
      </p:sp>
      <p:sp>
        <p:nvSpPr>
          <p:cNvPr id="19" name="Diagrammplatzhalter 16">
            <a:extLst>
              <a:ext uri="{FF2B5EF4-FFF2-40B4-BE49-F238E27FC236}">
                <a16:creationId xmlns:a16="http://schemas.microsoft.com/office/drawing/2014/main" id="{BFD5E16B-C65D-E6C4-A20A-193460E2BE45}"/>
              </a:ext>
            </a:extLst>
          </p:cNvPr>
          <p:cNvSpPr>
            <a:spLocks noGrp="1"/>
          </p:cNvSpPr>
          <p:nvPr>
            <p:ph type="chart" sz="quarter" idx="29"/>
          </p:nvPr>
        </p:nvSpPr>
        <p:spPr bwMode="gray">
          <a:xfrm>
            <a:off x="9192676" y="4897955"/>
            <a:ext cx="2304000" cy="647452"/>
          </a:xfrm>
        </p:spPr>
        <p:txBody>
          <a:bodyPr/>
          <a:lstStyle/>
          <a:p>
            <a:r>
              <a:rPr lang="en-US"/>
              <a:t>Click icon to add chart</a:t>
            </a:r>
            <a:endParaRPr lang="de-DE" dirty="0"/>
          </a:p>
        </p:txBody>
      </p:sp>
      <p:sp>
        <p:nvSpPr>
          <p:cNvPr id="20" name="Diagrammplatzhalter 16">
            <a:extLst>
              <a:ext uri="{FF2B5EF4-FFF2-40B4-BE49-F238E27FC236}">
                <a16:creationId xmlns:a16="http://schemas.microsoft.com/office/drawing/2014/main" id="{3D4121FD-F1F1-F1E8-1848-CCBAB441282C}"/>
              </a:ext>
            </a:extLst>
          </p:cNvPr>
          <p:cNvSpPr>
            <a:spLocks noGrp="1"/>
          </p:cNvSpPr>
          <p:nvPr>
            <p:ph type="chart" sz="quarter" idx="30"/>
          </p:nvPr>
        </p:nvSpPr>
        <p:spPr bwMode="gray">
          <a:xfrm>
            <a:off x="9192676" y="5661273"/>
            <a:ext cx="2304000" cy="647452"/>
          </a:xfrm>
        </p:spPr>
        <p:txBody>
          <a:bodyPr/>
          <a:lstStyle/>
          <a:p>
            <a:r>
              <a:rPr lang="en-US"/>
              <a:t>Click icon to add chart</a:t>
            </a:r>
            <a:endParaRPr lang="de-DE" dirty="0"/>
          </a:p>
        </p:txBody>
      </p:sp>
      <p:sp>
        <p:nvSpPr>
          <p:cNvPr id="21" name="Datumsplatzhalter 20">
            <a:extLst>
              <a:ext uri="{FF2B5EF4-FFF2-40B4-BE49-F238E27FC236}">
                <a16:creationId xmlns:a16="http://schemas.microsoft.com/office/drawing/2014/main" id="{3CB890ED-E4E8-7B63-A6CA-720E1E3A0597}"/>
              </a:ext>
            </a:extLst>
          </p:cNvPr>
          <p:cNvSpPr>
            <a:spLocks noGrp="1"/>
          </p:cNvSpPr>
          <p:nvPr>
            <p:ph type="dt" sz="half" idx="31"/>
          </p:nvPr>
        </p:nvSpPr>
        <p:spPr bwMode="gray"/>
        <p:txBody>
          <a:bodyPr/>
          <a:lstStyle/>
          <a:p>
            <a:fld id="{9E2B9F34-56FA-484F-BF35-683BE469C0E3}" type="datetime1">
              <a:rPr lang="de-DE" smtClean="0"/>
              <a:pPr/>
              <a:t>30.11.2024</a:t>
            </a:fld>
            <a:endParaRPr lang="de-DE" dirty="0"/>
          </a:p>
        </p:txBody>
      </p:sp>
      <p:sp>
        <p:nvSpPr>
          <p:cNvPr id="22" name="Fußzeilenplatzhalter 21">
            <a:extLst>
              <a:ext uri="{FF2B5EF4-FFF2-40B4-BE49-F238E27FC236}">
                <a16:creationId xmlns:a16="http://schemas.microsoft.com/office/drawing/2014/main" id="{1B0DF97A-47E6-F2E5-9A1E-B6D9E48D833A}"/>
              </a:ext>
            </a:extLst>
          </p:cNvPr>
          <p:cNvSpPr>
            <a:spLocks noGrp="1"/>
          </p:cNvSpPr>
          <p:nvPr>
            <p:ph type="ftr" sz="quarter" idx="32"/>
          </p:nvPr>
        </p:nvSpPr>
        <p:spPr bwMode="gray">
          <a:xfrm>
            <a:off x="4296676" y="6498000"/>
            <a:ext cx="7200000" cy="180000"/>
          </a:xfrm>
        </p:spPr>
        <p:txBody>
          <a:bodyPr/>
          <a:lstStyle/>
          <a:p>
            <a:r>
              <a:rPr lang="de-DE" dirty="0"/>
              <a:t>Unternehmenspräsentation</a:t>
            </a:r>
          </a:p>
        </p:txBody>
      </p:sp>
      <p:sp>
        <p:nvSpPr>
          <p:cNvPr id="23" name="Foliennummernplatzhalter 22">
            <a:extLst>
              <a:ext uri="{FF2B5EF4-FFF2-40B4-BE49-F238E27FC236}">
                <a16:creationId xmlns:a16="http://schemas.microsoft.com/office/drawing/2014/main" id="{B834879C-8A2D-CDF5-D5EC-28ABF931C888}"/>
              </a:ext>
            </a:extLst>
          </p:cNvPr>
          <p:cNvSpPr>
            <a:spLocks noGrp="1"/>
          </p:cNvSpPr>
          <p:nvPr>
            <p:ph type="sldNum" sz="quarter" idx="33"/>
          </p:nvPr>
        </p:nvSpPr>
        <p:spPr bwMode="gray"/>
        <p:txBody>
          <a:bodyPr/>
          <a:lstStyle/>
          <a:p>
            <a:fld id="{1A2CFED3-8F6A-4617-95E5-25D21BE72BEB}" type="slidenum">
              <a:rPr lang="de-DE" smtClean="0"/>
              <a:pPr/>
              <a:t>‹#›</a:t>
            </a:fld>
            <a:endParaRPr lang="de-DE" dirty="0"/>
          </a:p>
        </p:txBody>
      </p:sp>
      <p:sp>
        <p:nvSpPr>
          <p:cNvPr id="24" name="Titel 23">
            <a:extLst>
              <a:ext uri="{FF2B5EF4-FFF2-40B4-BE49-F238E27FC236}">
                <a16:creationId xmlns:a16="http://schemas.microsoft.com/office/drawing/2014/main" id="{762F463E-B0C4-5673-29E3-62594DD658FB}"/>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2500911070"/>
      </p:ext>
    </p:extLst>
  </p:cSld>
  <p:clrMapOvr>
    <a:masterClrMapping/>
  </p:clrMapOvr>
  <p:extLst>
    <p:ext uri="{DCECCB84-F9BA-43D5-87BE-67443E8EF086}">
      <p15:sldGuideLst xmlns:p15="http://schemas.microsoft.com/office/powerpoint/2012/main">
        <p15:guide id="1" pos="5654">
          <p15:clr>
            <a:srgbClr val="FBAE40"/>
          </p15:clr>
        </p15:guide>
        <p15:guide id="2" orient="horz" pos="116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 Inhalte">
    <p:spTree>
      <p:nvGrpSpPr>
        <p:cNvPr id="1" name=""/>
        <p:cNvGrpSpPr/>
        <p:nvPr/>
      </p:nvGrpSpPr>
      <p:grpSpPr>
        <a:xfrm>
          <a:off x="0" y="0"/>
          <a:ext cx="0" cy="0"/>
          <a:chOff x="0" y="0"/>
          <a:chExt cx="0" cy="0"/>
        </a:xfrm>
      </p:grpSpPr>
      <p:sp>
        <p:nvSpPr>
          <p:cNvPr id="9" name="Datumsplatzhalter 8">
            <a:extLst>
              <a:ext uri="{FF2B5EF4-FFF2-40B4-BE49-F238E27FC236}">
                <a16:creationId xmlns:a16="http://schemas.microsoft.com/office/drawing/2014/main" id="{CF3C179B-31FF-5CBB-D255-F94E3B6860D3}"/>
              </a:ext>
            </a:extLst>
          </p:cNvPr>
          <p:cNvSpPr>
            <a:spLocks noGrp="1"/>
          </p:cNvSpPr>
          <p:nvPr>
            <p:ph type="dt" sz="half" idx="27"/>
          </p:nvPr>
        </p:nvSpPr>
        <p:spPr bwMode="gray">
          <a:xfrm>
            <a:off x="695325" y="6498000"/>
            <a:ext cx="2743200" cy="180000"/>
          </a:xfrm>
        </p:spPr>
        <p:txBody>
          <a:bodyPr/>
          <a:lstStyle/>
          <a:p>
            <a:fld id="{73F4B46C-45B3-4EB3-8B9E-09DFEF0E3B48}" type="datetime1">
              <a:rPr lang="de-DE" smtClean="0"/>
              <a:t>30.11.2024</a:t>
            </a:fld>
            <a:endParaRPr lang="de-DE" dirty="0"/>
          </a:p>
        </p:txBody>
      </p:sp>
      <p:sp>
        <p:nvSpPr>
          <p:cNvPr id="10" name="Fußzeilenplatzhalter 9">
            <a:extLst>
              <a:ext uri="{FF2B5EF4-FFF2-40B4-BE49-F238E27FC236}">
                <a16:creationId xmlns:a16="http://schemas.microsoft.com/office/drawing/2014/main" id="{26395144-2BF1-CE4C-2AB2-ACD27BE58112}"/>
              </a:ext>
            </a:extLst>
          </p:cNvPr>
          <p:cNvSpPr>
            <a:spLocks noGrp="1"/>
          </p:cNvSpPr>
          <p:nvPr>
            <p:ph type="ftr" sz="quarter" idx="28"/>
          </p:nvPr>
        </p:nvSpPr>
        <p:spPr bwMode="gray">
          <a:xfrm>
            <a:off x="4296676" y="6498000"/>
            <a:ext cx="7200000" cy="180000"/>
          </a:xfrm>
        </p:spPr>
        <p:txBody>
          <a:bodyPr/>
          <a:lstStyle/>
          <a:p>
            <a:r>
              <a:rPr lang="de-DE" dirty="0"/>
              <a:t>Unternehmenspräsentation</a:t>
            </a:r>
          </a:p>
        </p:txBody>
      </p:sp>
      <p:sp>
        <p:nvSpPr>
          <p:cNvPr id="21" name="Foliennummernplatzhalter 20">
            <a:extLst>
              <a:ext uri="{FF2B5EF4-FFF2-40B4-BE49-F238E27FC236}">
                <a16:creationId xmlns:a16="http://schemas.microsoft.com/office/drawing/2014/main" id="{EC1FF64D-C393-B5A6-E849-A19ECBE00E46}"/>
              </a:ext>
            </a:extLst>
          </p:cNvPr>
          <p:cNvSpPr>
            <a:spLocks noGrp="1"/>
          </p:cNvSpPr>
          <p:nvPr>
            <p:ph type="sldNum" sz="quarter" idx="29"/>
          </p:nvPr>
        </p:nvSpPr>
        <p:spPr bwMode="gray"/>
        <p:txBody>
          <a:bodyPr/>
          <a:lstStyle/>
          <a:p>
            <a:fld id="{1A2CFED3-8F6A-4617-95E5-25D21BE72BEB}" type="slidenum">
              <a:rPr lang="de-DE" smtClean="0"/>
              <a:pPr/>
              <a:t>‹#›</a:t>
            </a:fld>
            <a:endParaRPr lang="de-DE" dirty="0"/>
          </a:p>
        </p:txBody>
      </p:sp>
      <p:sp>
        <p:nvSpPr>
          <p:cNvPr id="23" name="Inhaltsplatzhalter 22">
            <a:extLst>
              <a:ext uri="{FF2B5EF4-FFF2-40B4-BE49-F238E27FC236}">
                <a16:creationId xmlns:a16="http://schemas.microsoft.com/office/drawing/2014/main" id="{31DD113B-6B01-71D5-E7F5-4078CBD1F023}"/>
              </a:ext>
            </a:extLst>
          </p:cNvPr>
          <p:cNvSpPr>
            <a:spLocks noGrp="1"/>
          </p:cNvSpPr>
          <p:nvPr>
            <p:ph sz="quarter" idx="30"/>
          </p:nvPr>
        </p:nvSpPr>
        <p:spPr bwMode="gray">
          <a:xfrm>
            <a:off x="695325"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4" name="Inhaltsplatzhalter 22">
            <a:extLst>
              <a:ext uri="{FF2B5EF4-FFF2-40B4-BE49-F238E27FC236}">
                <a16:creationId xmlns:a16="http://schemas.microsoft.com/office/drawing/2014/main" id="{56088BF2-E4B0-CE5A-56D2-3BF1FFF5F9C2}"/>
              </a:ext>
            </a:extLst>
          </p:cNvPr>
          <p:cNvSpPr>
            <a:spLocks noGrp="1"/>
          </p:cNvSpPr>
          <p:nvPr>
            <p:ph sz="quarter" idx="31"/>
          </p:nvPr>
        </p:nvSpPr>
        <p:spPr bwMode="gray">
          <a:xfrm>
            <a:off x="1692660"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5" name="Inhaltsplatzhalter 22">
            <a:extLst>
              <a:ext uri="{FF2B5EF4-FFF2-40B4-BE49-F238E27FC236}">
                <a16:creationId xmlns:a16="http://schemas.microsoft.com/office/drawing/2014/main" id="{74BF6DB8-80A0-E919-0153-AADFF18E33B9}"/>
              </a:ext>
            </a:extLst>
          </p:cNvPr>
          <p:cNvSpPr>
            <a:spLocks noGrp="1"/>
          </p:cNvSpPr>
          <p:nvPr>
            <p:ph sz="quarter" idx="32"/>
          </p:nvPr>
        </p:nvSpPr>
        <p:spPr bwMode="gray">
          <a:xfrm>
            <a:off x="2689995"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6" name="Inhaltsplatzhalter 22">
            <a:extLst>
              <a:ext uri="{FF2B5EF4-FFF2-40B4-BE49-F238E27FC236}">
                <a16:creationId xmlns:a16="http://schemas.microsoft.com/office/drawing/2014/main" id="{85F68E85-0FB5-8A47-FA7E-823F4547319F}"/>
              </a:ext>
            </a:extLst>
          </p:cNvPr>
          <p:cNvSpPr>
            <a:spLocks noGrp="1"/>
          </p:cNvSpPr>
          <p:nvPr>
            <p:ph sz="quarter" idx="33"/>
          </p:nvPr>
        </p:nvSpPr>
        <p:spPr bwMode="gray">
          <a:xfrm>
            <a:off x="3687330"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7" name="Inhaltsplatzhalter 22">
            <a:extLst>
              <a:ext uri="{FF2B5EF4-FFF2-40B4-BE49-F238E27FC236}">
                <a16:creationId xmlns:a16="http://schemas.microsoft.com/office/drawing/2014/main" id="{83AAD311-79A9-8EA4-F88E-19DBD6332B7F}"/>
              </a:ext>
            </a:extLst>
          </p:cNvPr>
          <p:cNvSpPr>
            <a:spLocks noGrp="1"/>
          </p:cNvSpPr>
          <p:nvPr>
            <p:ph sz="quarter" idx="34"/>
          </p:nvPr>
        </p:nvSpPr>
        <p:spPr bwMode="gray">
          <a:xfrm>
            <a:off x="4684665"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8" name="Inhaltsplatzhalter 22">
            <a:extLst>
              <a:ext uri="{FF2B5EF4-FFF2-40B4-BE49-F238E27FC236}">
                <a16:creationId xmlns:a16="http://schemas.microsoft.com/office/drawing/2014/main" id="{29D90A2D-813F-E86C-25C9-5FE88BB33575}"/>
              </a:ext>
            </a:extLst>
          </p:cNvPr>
          <p:cNvSpPr>
            <a:spLocks noGrp="1"/>
          </p:cNvSpPr>
          <p:nvPr>
            <p:ph sz="quarter" idx="35"/>
          </p:nvPr>
        </p:nvSpPr>
        <p:spPr bwMode="gray">
          <a:xfrm>
            <a:off x="5682000"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9" name="Inhaltsplatzhalter 22">
            <a:extLst>
              <a:ext uri="{FF2B5EF4-FFF2-40B4-BE49-F238E27FC236}">
                <a16:creationId xmlns:a16="http://schemas.microsoft.com/office/drawing/2014/main" id="{9633055A-45A1-F5E6-D9FF-A0127529D226}"/>
              </a:ext>
            </a:extLst>
          </p:cNvPr>
          <p:cNvSpPr>
            <a:spLocks noGrp="1"/>
          </p:cNvSpPr>
          <p:nvPr>
            <p:ph sz="quarter" idx="36"/>
          </p:nvPr>
        </p:nvSpPr>
        <p:spPr bwMode="gray">
          <a:xfrm>
            <a:off x="6679335"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0" name="Inhaltsplatzhalter 22">
            <a:extLst>
              <a:ext uri="{FF2B5EF4-FFF2-40B4-BE49-F238E27FC236}">
                <a16:creationId xmlns:a16="http://schemas.microsoft.com/office/drawing/2014/main" id="{F8C68571-F52B-039C-8566-80BE911210FB}"/>
              </a:ext>
            </a:extLst>
          </p:cNvPr>
          <p:cNvSpPr>
            <a:spLocks noGrp="1"/>
          </p:cNvSpPr>
          <p:nvPr>
            <p:ph sz="quarter" idx="37"/>
          </p:nvPr>
        </p:nvSpPr>
        <p:spPr bwMode="gray">
          <a:xfrm>
            <a:off x="7676670"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1" name="Inhaltsplatzhalter 22">
            <a:extLst>
              <a:ext uri="{FF2B5EF4-FFF2-40B4-BE49-F238E27FC236}">
                <a16:creationId xmlns:a16="http://schemas.microsoft.com/office/drawing/2014/main" id="{21B27FD6-C4EF-A6C8-D24D-1D2FD61C5DFD}"/>
              </a:ext>
            </a:extLst>
          </p:cNvPr>
          <p:cNvSpPr>
            <a:spLocks noGrp="1"/>
          </p:cNvSpPr>
          <p:nvPr>
            <p:ph sz="quarter" idx="38"/>
          </p:nvPr>
        </p:nvSpPr>
        <p:spPr bwMode="gray">
          <a:xfrm>
            <a:off x="8674005"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2" name="Inhaltsplatzhalter 22">
            <a:extLst>
              <a:ext uri="{FF2B5EF4-FFF2-40B4-BE49-F238E27FC236}">
                <a16:creationId xmlns:a16="http://schemas.microsoft.com/office/drawing/2014/main" id="{5B638E2E-FC45-D323-47EF-E55E10E9F9E0}"/>
              </a:ext>
            </a:extLst>
          </p:cNvPr>
          <p:cNvSpPr>
            <a:spLocks noGrp="1"/>
          </p:cNvSpPr>
          <p:nvPr>
            <p:ph sz="quarter" idx="39"/>
          </p:nvPr>
        </p:nvSpPr>
        <p:spPr bwMode="gray">
          <a:xfrm>
            <a:off x="9671340"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3" name="Inhaltsplatzhalter 22">
            <a:extLst>
              <a:ext uri="{FF2B5EF4-FFF2-40B4-BE49-F238E27FC236}">
                <a16:creationId xmlns:a16="http://schemas.microsoft.com/office/drawing/2014/main" id="{6CDE7E08-BAC9-4374-7513-06F8564968CE}"/>
              </a:ext>
            </a:extLst>
          </p:cNvPr>
          <p:cNvSpPr>
            <a:spLocks noGrp="1"/>
          </p:cNvSpPr>
          <p:nvPr>
            <p:ph sz="quarter" idx="40"/>
          </p:nvPr>
        </p:nvSpPr>
        <p:spPr bwMode="gray">
          <a:xfrm>
            <a:off x="10668676" y="1125538"/>
            <a:ext cx="828000" cy="5183187"/>
          </a:xfr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4" name="Titel 33">
            <a:extLst>
              <a:ext uri="{FF2B5EF4-FFF2-40B4-BE49-F238E27FC236}">
                <a16:creationId xmlns:a16="http://schemas.microsoft.com/office/drawing/2014/main" id="{3AAAE01C-2F26-CA06-C88A-9CD5D5C27B9C}"/>
              </a:ext>
            </a:extLst>
          </p:cNvPr>
          <p:cNvSpPr>
            <a:spLocks noGrp="1"/>
          </p:cNvSpPr>
          <p:nvPr>
            <p:ph type="title"/>
          </p:nvPr>
        </p:nvSpPr>
        <p:spPr bwMode="gray"/>
        <p:txBody>
          <a:bodyPr/>
          <a:lstStyle/>
          <a:p>
            <a:r>
              <a:rPr lang="en-US"/>
              <a:t>Click to edit Master title style</a:t>
            </a:r>
            <a:endParaRPr lang="de-DE"/>
          </a:p>
        </p:txBody>
      </p:sp>
    </p:spTree>
    <p:extLst>
      <p:ext uri="{BB962C8B-B14F-4D97-AF65-F5344CB8AC3E}">
        <p14:creationId xmlns:p14="http://schemas.microsoft.com/office/powerpoint/2010/main" val="115747536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einstieg">
    <p:spTree>
      <p:nvGrpSpPr>
        <p:cNvPr id="1" name=""/>
        <p:cNvGrpSpPr/>
        <p:nvPr/>
      </p:nvGrpSpPr>
      <p:grpSpPr>
        <a:xfrm>
          <a:off x="0" y="0"/>
          <a:ext cx="0" cy="0"/>
          <a:chOff x="0" y="0"/>
          <a:chExt cx="0" cy="0"/>
        </a:xfrm>
      </p:grpSpPr>
      <p:sp>
        <p:nvSpPr>
          <p:cNvPr id="9" name="Textplatzhalter 2">
            <a:extLst>
              <a:ext uri="{FF2B5EF4-FFF2-40B4-BE49-F238E27FC236}">
                <a16:creationId xmlns:a16="http://schemas.microsoft.com/office/drawing/2014/main" id="{695A2ABA-2370-6A9F-95D2-40DF54DA5C28}"/>
              </a:ext>
            </a:extLst>
          </p:cNvPr>
          <p:cNvSpPr>
            <a:spLocks noGrp="1"/>
          </p:cNvSpPr>
          <p:nvPr>
            <p:ph type="body" sz="quarter" idx="17"/>
          </p:nvPr>
        </p:nvSpPr>
        <p:spPr bwMode="gray">
          <a:xfrm>
            <a:off x="695324" y="1440000"/>
            <a:ext cx="10801351" cy="4536029"/>
          </a:xfrm>
        </p:spPr>
        <p:txBody>
          <a:bodyPr vert="horz" lIns="0" tIns="0" rIns="0" bIns="0" rtlCol="0" anchor="t" anchorCtr="0">
            <a:noAutofit/>
          </a:bodyPr>
          <a:lstStyle>
            <a:lvl1pPr>
              <a:lnSpc>
                <a:spcPts val="2600"/>
              </a:lnSpc>
              <a:spcBef>
                <a:spcPts val="0"/>
              </a:spcBef>
              <a:spcAft>
                <a:spcPts val="2000"/>
              </a:spcAft>
              <a:tabLst>
                <a:tab pos="533400" algn="l"/>
              </a:tabLst>
              <a:defRPr lang="de-DE" sz="3200" cap="none" spc="300" baseline="0" dirty="0">
                <a:solidFill>
                  <a:schemeClr val="accent1"/>
                </a:solidFill>
                <a:latin typeface="+mj-lt"/>
              </a:defRPr>
            </a:lvl1pPr>
            <a:lvl2pPr marL="0" indent="0">
              <a:lnSpc>
                <a:spcPts val="2600"/>
              </a:lnSpc>
              <a:spcBef>
                <a:spcPts val="0"/>
              </a:spcBef>
              <a:spcAft>
                <a:spcPts val="2000"/>
              </a:spcAft>
              <a:buClr>
                <a:schemeClr val="accent1"/>
              </a:buClr>
              <a:buFontTx/>
              <a:buNone/>
              <a:defRPr lang="de-DE" sz="2800" cap="all" spc="300" baseline="0" dirty="0">
                <a:solidFill>
                  <a:schemeClr val="bg2">
                    <a:lumMod val="75000"/>
                  </a:schemeClr>
                </a:solidFill>
                <a:latin typeface="+mn-lt"/>
              </a:defRPr>
            </a:lvl2pPr>
            <a:lvl3pPr marL="0">
              <a:tabLst>
                <a:tab pos="533400" algn="l"/>
              </a:tabLst>
              <a:defRPr lang="de-DE" sz="2800" kern="1200" cap="none" spc="300" baseline="0" noProof="0" dirty="0">
                <a:solidFill>
                  <a:schemeClr val="tx1"/>
                </a:solidFill>
                <a:latin typeface="+mn-lt"/>
                <a:ea typeface="+mn-ea"/>
                <a:cs typeface="+mn-cs"/>
              </a:defRPr>
            </a:lvl3pPr>
            <a:lvl8pPr>
              <a:lnSpc>
                <a:spcPts val="3000"/>
              </a:lnSpc>
              <a:spcBef>
                <a:spcPts val="1600"/>
              </a:spcBef>
              <a:spcAft>
                <a:spcPts val="1600"/>
              </a:spcAft>
              <a:defRPr lang="de-DE" sz="2200" spc="40" dirty="0">
                <a:solidFill>
                  <a:schemeClr val="tx1">
                    <a:lumMod val="65000"/>
                    <a:lumOff val="35000"/>
                  </a:schemeClr>
                </a:solidFill>
                <a:latin typeface="+mj-lt"/>
              </a:defRPr>
            </a:lvl8pPr>
            <a:lvl9pPr>
              <a:lnSpc>
                <a:spcPts val="3000"/>
              </a:lnSpc>
              <a:spcBef>
                <a:spcPts val="1600"/>
              </a:spcBef>
              <a:spcAft>
                <a:spcPts val="1600"/>
              </a:spcAft>
              <a:defRPr lang="de-DE" sz="2800" baseline="0" dirty="0">
                <a:solidFill>
                  <a:schemeClr val="tx1">
                    <a:lumMod val="75000"/>
                    <a:lumOff val="25000"/>
                  </a:schemeClr>
                </a:solidFill>
                <a:latin typeface="+mn-lt"/>
              </a:defRPr>
            </a:lvl9pPr>
          </a:lstStyle>
          <a:p>
            <a:pPr lvl="0">
              <a:lnSpc>
                <a:spcPts val="2800"/>
              </a:lnSpc>
              <a:spcBef>
                <a:spcPts val="1200"/>
              </a:spcBef>
              <a:spcAft>
                <a:spcPts val="1200"/>
              </a:spcAft>
            </a:pPr>
            <a:r>
              <a:rPr lang="en-US"/>
              <a:t>Click to edit Master text styles</a:t>
            </a:r>
          </a:p>
          <a:p>
            <a:pPr lvl="1">
              <a:lnSpc>
                <a:spcPts val="2800"/>
              </a:lnSpc>
              <a:spcBef>
                <a:spcPts val="1200"/>
              </a:spcBef>
              <a:spcAft>
                <a:spcPts val="1200"/>
              </a:spcAft>
            </a:pPr>
            <a:r>
              <a:rPr lang="en-US"/>
              <a:t>Second level</a:t>
            </a:r>
          </a:p>
        </p:txBody>
      </p:sp>
      <p:sp>
        <p:nvSpPr>
          <p:cNvPr id="4" name="Rechteck 3">
            <a:extLst>
              <a:ext uri="{FF2B5EF4-FFF2-40B4-BE49-F238E27FC236}">
                <a16:creationId xmlns:a16="http://schemas.microsoft.com/office/drawing/2014/main" id="{8B2D7EF5-71A1-D007-3850-A993F57DEBE0}"/>
              </a:ext>
            </a:extLst>
          </p:cNvPr>
          <p:cNvSpPr/>
          <p:nvPr userDrawn="1"/>
        </p:nvSpPr>
        <p:spPr bwMode="gray">
          <a:xfrm>
            <a:off x="0" y="6165304"/>
            <a:ext cx="12192000" cy="143421"/>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de-DE" sz="2000" dirty="0">
              <a:solidFill>
                <a:schemeClr val="tx1"/>
              </a:solidFill>
            </a:endParaRPr>
          </a:p>
        </p:txBody>
      </p:sp>
      <p:sp>
        <p:nvSpPr>
          <p:cNvPr id="5" name="Datumsplatzhalter 4">
            <a:extLst>
              <a:ext uri="{FF2B5EF4-FFF2-40B4-BE49-F238E27FC236}">
                <a16:creationId xmlns:a16="http://schemas.microsoft.com/office/drawing/2014/main" id="{66EBD546-ECA7-E6D2-1E77-14E25EC36FED}"/>
              </a:ext>
            </a:extLst>
          </p:cNvPr>
          <p:cNvSpPr>
            <a:spLocks noGrp="1"/>
          </p:cNvSpPr>
          <p:nvPr>
            <p:ph type="dt" sz="half" idx="18"/>
          </p:nvPr>
        </p:nvSpPr>
        <p:spPr bwMode="gray"/>
        <p:txBody>
          <a:bodyPr/>
          <a:lstStyle/>
          <a:p>
            <a:fld id="{9E2B9F34-56FA-484F-BF35-683BE469C0E3}" type="datetime1">
              <a:rPr lang="de-DE" smtClean="0"/>
              <a:pPr/>
              <a:t>30.11.2024</a:t>
            </a:fld>
            <a:endParaRPr lang="de-DE" dirty="0"/>
          </a:p>
        </p:txBody>
      </p:sp>
      <p:sp>
        <p:nvSpPr>
          <p:cNvPr id="7" name="Fußzeilenplatzhalter 6">
            <a:extLst>
              <a:ext uri="{FF2B5EF4-FFF2-40B4-BE49-F238E27FC236}">
                <a16:creationId xmlns:a16="http://schemas.microsoft.com/office/drawing/2014/main" id="{F7C54EB8-7B59-22B4-4FC4-D84D0D00C1C9}"/>
              </a:ext>
            </a:extLst>
          </p:cNvPr>
          <p:cNvSpPr>
            <a:spLocks noGrp="1"/>
          </p:cNvSpPr>
          <p:nvPr>
            <p:ph type="ftr" sz="quarter" idx="19"/>
          </p:nvPr>
        </p:nvSpPr>
        <p:spPr bwMode="gray"/>
        <p:txBody>
          <a:bodyPr/>
          <a:lstStyle/>
          <a:p>
            <a:r>
              <a:rPr lang="de-DE" dirty="0"/>
              <a:t>Unternehmenspräsentation</a:t>
            </a:r>
          </a:p>
        </p:txBody>
      </p:sp>
      <p:sp>
        <p:nvSpPr>
          <p:cNvPr id="8" name="Foliennummernplatzhalter 7">
            <a:extLst>
              <a:ext uri="{FF2B5EF4-FFF2-40B4-BE49-F238E27FC236}">
                <a16:creationId xmlns:a16="http://schemas.microsoft.com/office/drawing/2014/main" id="{0870DE68-5485-0BA9-3FF4-FC2B70F66D33}"/>
              </a:ext>
            </a:extLst>
          </p:cNvPr>
          <p:cNvSpPr>
            <a:spLocks noGrp="1"/>
          </p:cNvSpPr>
          <p:nvPr>
            <p:ph type="sldNum" sz="quarter" idx="20"/>
          </p:nvPr>
        </p:nvSpPr>
        <p:spPr bwMode="gray"/>
        <p:txBody>
          <a:bodyPr/>
          <a:lstStyle/>
          <a:p>
            <a:fld id="{1A2CFED3-8F6A-4617-95E5-25D21BE72BEB}" type="slidenum">
              <a:rPr lang="de-DE" smtClean="0"/>
              <a:pPr/>
              <a:t>‹#›</a:t>
            </a:fld>
            <a:endParaRPr lang="de-DE" dirty="0"/>
          </a:p>
        </p:txBody>
      </p:sp>
    </p:spTree>
    <p:extLst>
      <p:ext uri="{BB962C8B-B14F-4D97-AF65-F5344CB8AC3E}">
        <p14:creationId xmlns:p14="http://schemas.microsoft.com/office/powerpoint/2010/main" val="294267700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ockUp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ED3C02-C333-CEDA-E07E-4478CDFC6355}"/>
              </a:ext>
            </a:extLst>
          </p:cNvPr>
          <p:cNvSpPr>
            <a:spLocks noGrp="1"/>
          </p:cNvSpPr>
          <p:nvPr>
            <p:ph type="title"/>
          </p:nvPr>
        </p:nvSpPr>
        <p:spPr bwMode="gray"/>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559318CB-83E3-F25F-33DC-44DDBEBEFFB1}"/>
              </a:ext>
            </a:extLst>
          </p:cNvPr>
          <p:cNvSpPr>
            <a:spLocks noGrp="1"/>
          </p:cNvSpPr>
          <p:nvPr>
            <p:ph type="dt" sz="half" idx="10"/>
          </p:nvPr>
        </p:nvSpPr>
        <p:spPr bwMode="gray"/>
        <p:txBody>
          <a:bodyPr/>
          <a:lstStyle/>
          <a:p>
            <a:fld id="{77E500D0-655F-48AD-A269-FA6735FE52A8}" type="datetime1">
              <a:rPr lang="de-DE" smtClean="0"/>
              <a:t>30.11.2024</a:t>
            </a:fld>
            <a:endParaRPr lang="de-DE" dirty="0"/>
          </a:p>
        </p:txBody>
      </p:sp>
      <p:sp>
        <p:nvSpPr>
          <p:cNvPr id="4" name="Fußzeilenplatzhalter 3">
            <a:extLst>
              <a:ext uri="{FF2B5EF4-FFF2-40B4-BE49-F238E27FC236}">
                <a16:creationId xmlns:a16="http://schemas.microsoft.com/office/drawing/2014/main" id="{7EC32B3B-6EF9-FF7F-CD46-7B4AAC5A594A}"/>
              </a:ext>
            </a:extLst>
          </p:cNvPr>
          <p:cNvSpPr>
            <a:spLocks noGrp="1"/>
          </p:cNvSpPr>
          <p:nvPr>
            <p:ph type="ftr" sz="quarter" idx="11"/>
          </p:nvPr>
        </p:nvSpPr>
        <p:spPr bwMode="gray"/>
        <p:txBody>
          <a:bodyPr/>
          <a:lstStyle/>
          <a:p>
            <a:r>
              <a:rPr lang="de-DE" dirty="0"/>
              <a:t>Unternehmenspräsentation</a:t>
            </a:r>
          </a:p>
        </p:txBody>
      </p:sp>
      <p:sp>
        <p:nvSpPr>
          <p:cNvPr id="5" name="Foliennummernplatzhalter 4">
            <a:extLst>
              <a:ext uri="{FF2B5EF4-FFF2-40B4-BE49-F238E27FC236}">
                <a16:creationId xmlns:a16="http://schemas.microsoft.com/office/drawing/2014/main" id="{15BEB506-D959-87F7-AE39-613AA81A7D00}"/>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cxnSp>
        <p:nvCxnSpPr>
          <p:cNvPr id="6" name="Linie 1">
            <a:extLst>
              <a:ext uri="{FF2B5EF4-FFF2-40B4-BE49-F238E27FC236}">
                <a16:creationId xmlns:a16="http://schemas.microsoft.com/office/drawing/2014/main" id="{397E1C5D-C5CA-D760-7A90-8203DEF5B9EA}"/>
              </a:ext>
            </a:extLst>
          </p:cNvPr>
          <p:cNvCxnSpPr>
            <a:cxnSpLocks/>
          </p:cNvCxnSpPr>
          <p:nvPr userDrawn="1"/>
        </p:nvCxnSpPr>
        <p:spPr bwMode="gray">
          <a:xfrm flipV="1">
            <a:off x="0" y="6089143"/>
            <a:ext cx="12192000" cy="10432"/>
          </a:xfrm>
          <a:prstGeom prst="line">
            <a:avLst/>
          </a:prstGeom>
          <a:ln w="254000">
            <a:gradFill>
              <a:gsLst>
                <a:gs pos="0">
                  <a:schemeClr val="bg1">
                    <a:lumMod val="75000"/>
                    <a:alpha val="0"/>
                  </a:schemeClr>
                </a:gs>
                <a:gs pos="50000">
                  <a:schemeClr val="bg1">
                    <a:lumMod val="75000"/>
                  </a:schemeClr>
                </a:gs>
                <a:gs pos="100000">
                  <a:schemeClr val="bg1">
                    <a:lumMod val="95000"/>
                    <a:alpha val="0"/>
                  </a:schemeClr>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7" name="Linie 2">
            <a:extLst>
              <a:ext uri="{FF2B5EF4-FFF2-40B4-BE49-F238E27FC236}">
                <a16:creationId xmlns:a16="http://schemas.microsoft.com/office/drawing/2014/main" id="{9BDBB396-BD7F-CE29-A3FD-BF93EAFE357D}"/>
              </a:ext>
            </a:extLst>
          </p:cNvPr>
          <p:cNvCxnSpPr>
            <a:cxnSpLocks/>
          </p:cNvCxnSpPr>
          <p:nvPr userDrawn="1"/>
        </p:nvCxnSpPr>
        <p:spPr bwMode="gray">
          <a:xfrm>
            <a:off x="0" y="6099575"/>
            <a:ext cx="12192000" cy="26"/>
          </a:xfrm>
          <a:prstGeom prst="line">
            <a:avLst/>
          </a:prstGeom>
          <a:ln w="254000">
            <a:gradFill>
              <a:gsLst>
                <a:gs pos="75000">
                  <a:srgbClr val="FFFFFF">
                    <a:alpha val="0"/>
                  </a:srgbClr>
                </a:gs>
                <a:gs pos="25000">
                  <a:srgbClr val="FFFFFF">
                    <a:alpha val="0"/>
                  </a:srgbClr>
                </a:gs>
                <a:gs pos="0">
                  <a:schemeClr val="bg1"/>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grpSp>
        <p:nvGrpSpPr>
          <p:cNvPr id="8" name="iMac 27''">
            <a:extLst>
              <a:ext uri="{FF2B5EF4-FFF2-40B4-BE49-F238E27FC236}">
                <a16:creationId xmlns:a16="http://schemas.microsoft.com/office/drawing/2014/main" id="{BF19C85E-24DF-96A8-49F6-90B42AAD0E1D}"/>
              </a:ext>
            </a:extLst>
          </p:cNvPr>
          <p:cNvGrpSpPr>
            <a:grpSpLocks noChangeAspect="1"/>
          </p:cNvGrpSpPr>
          <p:nvPr userDrawn="1"/>
        </p:nvGrpSpPr>
        <p:grpSpPr bwMode="gray">
          <a:xfrm>
            <a:off x="3641982" y="1659054"/>
            <a:ext cx="5517637" cy="4440521"/>
            <a:chOff x="12492681" y="1580400"/>
            <a:chExt cx="5254892" cy="4230000"/>
          </a:xfrm>
        </p:grpSpPr>
        <p:grpSp>
          <p:nvGrpSpPr>
            <p:cNvPr id="9" name="Fuß">
              <a:extLst>
                <a:ext uri="{FF2B5EF4-FFF2-40B4-BE49-F238E27FC236}">
                  <a16:creationId xmlns:a16="http://schemas.microsoft.com/office/drawing/2014/main" id="{8558F2D9-5C59-00CA-2101-0E85CB24EDBC}"/>
                </a:ext>
              </a:extLst>
            </p:cNvPr>
            <p:cNvGrpSpPr>
              <a:grpSpLocks noChangeAspect="1"/>
            </p:cNvGrpSpPr>
            <p:nvPr userDrawn="1"/>
          </p:nvGrpSpPr>
          <p:grpSpPr bwMode="gray">
            <a:xfrm>
              <a:off x="14320411" y="4710855"/>
              <a:ext cx="1599384" cy="1099545"/>
              <a:chOff x="14320411" y="4710855"/>
              <a:chExt cx="1599384" cy="1099545"/>
            </a:xfrm>
          </p:grpSpPr>
          <p:sp>
            <p:nvSpPr>
              <p:cNvPr id="15" name="Grafik 9">
                <a:extLst>
                  <a:ext uri="{FF2B5EF4-FFF2-40B4-BE49-F238E27FC236}">
                    <a16:creationId xmlns:a16="http://schemas.microsoft.com/office/drawing/2014/main" id="{8C643A97-6767-53C0-6844-77A81500890C}"/>
                  </a:ext>
                </a:extLst>
              </p:cNvPr>
              <p:cNvSpPr>
                <a:spLocks noChangeAspect="1"/>
              </p:cNvSpPr>
              <p:nvPr/>
            </p:nvSpPr>
            <p:spPr bwMode="gray">
              <a:xfrm>
                <a:off x="14321052" y="4710855"/>
                <a:ext cx="1598400" cy="1079648"/>
              </a:xfrm>
              <a:custGeom>
                <a:avLst/>
                <a:gdLst>
                  <a:gd name="connsiteX0" fmla="*/ 2451926 w 3056572"/>
                  <a:gd name="connsiteY0" fmla="*/ 0 h 2064579"/>
                  <a:gd name="connsiteX1" fmla="*/ 2532412 w 3056572"/>
                  <a:gd name="connsiteY1" fmla="*/ 1382173 h 2064579"/>
                  <a:gd name="connsiteX2" fmla="*/ 2665762 w 3056572"/>
                  <a:gd name="connsiteY2" fmla="*/ 1884712 h 2064579"/>
                  <a:gd name="connsiteX3" fmla="*/ 3056573 w 3056572"/>
                  <a:gd name="connsiteY3" fmla="*/ 2044637 h 2064579"/>
                  <a:gd name="connsiteX4" fmla="*/ 1528286 w 3056572"/>
                  <a:gd name="connsiteY4" fmla="*/ 2063591 h 2064579"/>
                  <a:gd name="connsiteX5" fmla="*/ 0 w 3056572"/>
                  <a:gd name="connsiteY5" fmla="*/ 2044637 h 2064579"/>
                  <a:gd name="connsiteX6" fmla="*/ 390811 w 3056572"/>
                  <a:gd name="connsiteY6" fmla="*/ 1884712 h 2064579"/>
                  <a:gd name="connsiteX7" fmla="*/ 505111 w 3056572"/>
                  <a:gd name="connsiteY7" fmla="*/ 1382173 h 2064579"/>
                  <a:gd name="connsiteX8" fmla="*/ 585597 w 3056572"/>
                  <a:gd name="connsiteY8" fmla="*/ 0 h 2064579"/>
                  <a:gd name="connsiteX9" fmla="*/ 2451926 w 3056572"/>
                  <a:gd name="connsiteY9" fmla="*/ 0 h 20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6572" h="2064579">
                    <a:moveTo>
                      <a:pt x="2451926" y="0"/>
                    </a:moveTo>
                    <a:cubicBezTo>
                      <a:pt x="2451926" y="0"/>
                      <a:pt x="2509838" y="1177004"/>
                      <a:pt x="2532412" y="1382173"/>
                    </a:cubicBezTo>
                    <a:cubicBezTo>
                      <a:pt x="2560130" y="1634300"/>
                      <a:pt x="2596991" y="1831753"/>
                      <a:pt x="2665762" y="1884712"/>
                    </a:cubicBezTo>
                    <a:cubicBezTo>
                      <a:pt x="2754059" y="1952720"/>
                      <a:pt x="3056573" y="2018157"/>
                      <a:pt x="3056573" y="2044637"/>
                    </a:cubicBezTo>
                    <a:cubicBezTo>
                      <a:pt x="3056573" y="2071116"/>
                      <a:pt x="2906173" y="2063591"/>
                      <a:pt x="1528286" y="2063591"/>
                    </a:cubicBezTo>
                    <a:cubicBezTo>
                      <a:pt x="150400" y="2063591"/>
                      <a:pt x="0" y="2071116"/>
                      <a:pt x="0" y="2044637"/>
                    </a:cubicBezTo>
                    <a:cubicBezTo>
                      <a:pt x="0" y="2018157"/>
                      <a:pt x="302514" y="1952720"/>
                      <a:pt x="390811" y="1884712"/>
                    </a:cubicBezTo>
                    <a:cubicBezTo>
                      <a:pt x="459581" y="1831753"/>
                      <a:pt x="477393" y="1634204"/>
                      <a:pt x="505111" y="1382173"/>
                    </a:cubicBezTo>
                    <a:cubicBezTo>
                      <a:pt x="527780" y="1177004"/>
                      <a:pt x="585597" y="0"/>
                      <a:pt x="585597" y="0"/>
                    </a:cubicBezTo>
                    <a:lnTo>
                      <a:pt x="2451926" y="0"/>
                    </a:lnTo>
                    <a:close/>
                  </a:path>
                </a:pathLst>
              </a:custGeom>
              <a:solidFill>
                <a:schemeClr val="bg1"/>
              </a:solidFill>
              <a:ln w="6350" cap="rnd">
                <a:solidFill>
                  <a:schemeClr val="tx1"/>
                </a:solidFill>
                <a:prstDash val="solid"/>
                <a:rou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US" sz="2100" dirty="0"/>
              </a:p>
            </p:txBody>
          </p:sp>
          <p:sp>
            <p:nvSpPr>
              <p:cNvPr id="16" name="Freihandform: Form 15">
                <a:extLst>
                  <a:ext uri="{FF2B5EF4-FFF2-40B4-BE49-F238E27FC236}">
                    <a16:creationId xmlns:a16="http://schemas.microsoft.com/office/drawing/2014/main" id="{08078EDA-1A33-F014-7BDE-D16E4A90637E}"/>
                  </a:ext>
                </a:extLst>
              </p:cNvPr>
              <p:cNvSpPr/>
              <p:nvPr/>
            </p:nvSpPr>
            <p:spPr bwMode="gray">
              <a:xfrm>
                <a:off x="14320411" y="5780031"/>
                <a:ext cx="1599384" cy="30369"/>
              </a:xfrm>
              <a:custGeom>
                <a:avLst/>
                <a:gdLst>
                  <a:gd name="connsiteX0" fmla="*/ 866344 w 1732689"/>
                  <a:gd name="connsiteY0" fmla="*/ 10785 h 32900"/>
                  <a:gd name="connsiteX1" fmla="*/ 0 w 1732689"/>
                  <a:gd name="connsiteY1" fmla="*/ 40 h 32900"/>
                  <a:gd name="connsiteX2" fmla="*/ 0 w 1732689"/>
                  <a:gd name="connsiteY2" fmla="*/ 18236 h 32900"/>
                  <a:gd name="connsiteX3" fmla="*/ 866344 w 1732689"/>
                  <a:gd name="connsiteY3" fmla="*/ 32167 h 32900"/>
                  <a:gd name="connsiteX4" fmla="*/ 1732690 w 1732689"/>
                  <a:gd name="connsiteY4" fmla="*/ 18236 h 32900"/>
                  <a:gd name="connsiteX5" fmla="*/ 1732690 w 1732689"/>
                  <a:gd name="connsiteY5" fmla="*/ 40 h 32900"/>
                  <a:gd name="connsiteX6" fmla="*/ 866344 w 1732689"/>
                  <a:gd name="connsiteY6" fmla="*/ 10785 h 3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2689" h="32900">
                    <a:moveTo>
                      <a:pt x="866344" y="10785"/>
                    </a:moveTo>
                    <a:cubicBezTo>
                      <a:pt x="85257" y="10785"/>
                      <a:pt x="0" y="15050"/>
                      <a:pt x="0" y="40"/>
                    </a:cubicBezTo>
                    <a:cubicBezTo>
                      <a:pt x="0" y="-986"/>
                      <a:pt x="0" y="18236"/>
                      <a:pt x="0" y="18236"/>
                    </a:cubicBezTo>
                    <a:cubicBezTo>
                      <a:pt x="0" y="37728"/>
                      <a:pt x="85257" y="32167"/>
                      <a:pt x="866344" y="32167"/>
                    </a:cubicBezTo>
                    <a:cubicBezTo>
                      <a:pt x="1647432" y="32167"/>
                      <a:pt x="1732690" y="37728"/>
                      <a:pt x="1732690" y="18236"/>
                    </a:cubicBezTo>
                    <a:lnTo>
                      <a:pt x="1732690" y="40"/>
                    </a:lnTo>
                    <a:cubicBezTo>
                      <a:pt x="1732636" y="15104"/>
                      <a:pt x="1647216" y="10785"/>
                      <a:pt x="866344" y="10785"/>
                    </a:cubicBezTo>
                    <a:close/>
                  </a:path>
                </a:pathLst>
              </a:custGeom>
              <a:solidFill>
                <a:schemeClr val="bg1"/>
              </a:solidFill>
              <a:ln w="6350" cap="rnd">
                <a:solidFill>
                  <a:schemeClr val="tx1"/>
                </a:solidFill>
                <a:prstDash val="solid"/>
                <a:rou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2100" dirty="0"/>
              </a:p>
            </p:txBody>
          </p:sp>
        </p:grpSp>
        <p:grpSp>
          <p:nvGrpSpPr>
            <p:cNvPr id="10" name="Bildschirm">
              <a:extLst>
                <a:ext uri="{FF2B5EF4-FFF2-40B4-BE49-F238E27FC236}">
                  <a16:creationId xmlns:a16="http://schemas.microsoft.com/office/drawing/2014/main" id="{AF51D7EC-7413-148C-B0F7-480D77F3237A}"/>
                </a:ext>
              </a:extLst>
            </p:cNvPr>
            <p:cNvGrpSpPr>
              <a:grpSpLocks noChangeAspect="1"/>
            </p:cNvGrpSpPr>
            <p:nvPr/>
          </p:nvGrpSpPr>
          <p:grpSpPr bwMode="gray">
            <a:xfrm>
              <a:off x="12492681" y="1580400"/>
              <a:ext cx="5254892" cy="3612645"/>
              <a:chOff x="15786068" y="1136714"/>
              <a:chExt cx="5246890" cy="3607144"/>
            </a:xfrm>
          </p:grpSpPr>
          <p:sp>
            <p:nvSpPr>
              <p:cNvPr id="11" name="Freihandform: Form 10">
                <a:extLst>
                  <a:ext uri="{FF2B5EF4-FFF2-40B4-BE49-F238E27FC236}">
                    <a16:creationId xmlns:a16="http://schemas.microsoft.com/office/drawing/2014/main" id="{9BA99B32-17ED-B393-0679-3600DD74D568}"/>
                  </a:ext>
                </a:extLst>
              </p:cNvPr>
              <p:cNvSpPr/>
              <p:nvPr/>
            </p:nvSpPr>
            <p:spPr bwMode="gray">
              <a:xfrm>
                <a:off x="15786068" y="1136714"/>
                <a:ext cx="5246842" cy="3602168"/>
              </a:xfrm>
              <a:custGeom>
                <a:avLst/>
                <a:gdLst>
                  <a:gd name="connsiteX0" fmla="*/ 5539747 w 5692821"/>
                  <a:gd name="connsiteY0" fmla="*/ 3908351 h 3908351"/>
                  <a:gd name="connsiteX1" fmla="*/ 153075 w 5692821"/>
                  <a:gd name="connsiteY1" fmla="*/ 3908351 h 3908351"/>
                  <a:gd name="connsiteX2" fmla="*/ 0 w 5692821"/>
                  <a:gd name="connsiteY2" fmla="*/ 3755276 h 3908351"/>
                  <a:gd name="connsiteX3" fmla="*/ 0 w 5692821"/>
                  <a:gd name="connsiteY3" fmla="*/ 153075 h 3908351"/>
                  <a:gd name="connsiteX4" fmla="*/ 153075 w 5692821"/>
                  <a:gd name="connsiteY4" fmla="*/ 0 h 3908351"/>
                  <a:gd name="connsiteX5" fmla="*/ 5539747 w 5692821"/>
                  <a:gd name="connsiteY5" fmla="*/ 0 h 3908351"/>
                  <a:gd name="connsiteX6" fmla="*/ 5692822 w 5692821"/>
                  <a:gd name="connsiteY6" fmla="*/ 153075 h 3908351"/>
                  <a:gd name="connsiteX7" fmla="*/ 5692822 w 5692821"/>
                  <a:gd name="connsiteY7" fmla="*/ 3755330 h 3908351"/>
                  <a:gd name="connsiteX8" fmla="*/ 5539747 w 5692821"/>
                  <a:gd name="connsiteY8" fmla="*/ 3908351 h 39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92821" h="3908351">
                    <a:moveTo>
                      <a:pt x="5539747" y="3908351"/>
                    </a:moveTo>
                    <a:lnTo>
                      <a:pt x="153075" y="3908351"/>
                    </a:lnTo>
                    <a:cubicBezTo>
                      <a:pt x="68897" y="3908351"/>
                      <a:pt x="0" y="3839454"/>
                      <a:pt x="0" y="3755276"/>
                    </a:cubicBezTo>
                    <a:lnTo>
                      <a:pt x="0" y="153075"/>
                    </a:lnTo>
                    <a:cubicBezTo>
                      <a:pt x="0" y="68897"/>
                      <a:pt x="68897" y="0"/>
                      <a:pt x="153075" y="0"/>
                    </a:cubicBezTo>
                    <a:lnTo>
                      <a:pt x="5539747" y="0"/>
                    </a:lnTo>
                    <a:cubicBezTo>
                      <a:pt x="5623925" y="0"/>
                      <a:pt x="5692822" y="68897"/>
                      <a:pt x="5692822" y="153075"/>
                    </a:cubicBezTo>
                    <a:lnTo>
                      <a:pt x="5692822" y="3755330"/>
                    </a:lnTo>
                    <a:cubicBezTo>
                      <a:pt x="5692822" y="3839508"/>
                      <a:pt x="5623925" y="3908351"/>
                      <a:pt x="5539747" y="3908351"/>
                    </a:cubicBezTo>
                    <a:close/>
                  </a:path>
                </a:pathLst>
              </a:custGeom>
              <a:solidFill>
                <a:schemeClr val="bg1"/>
              </a:solidFill>
              <a:ln w="6350" cap="rnd">
                <a:solidFill>
                  <a:schemeClr val="tx1"/>
                </a:solidFill>
                <a:prstDash val="solid"/>
                <a:round/>
              </a:ln>
            </p:spPr>
            <p:txBody>
              <a:bodyPr lIns="0" tIns="0" rIns="0" bIns="0" rtlCol="0" anchor="ctr"/>
              <a:lstStyle/>
              <a:p>
                <a:endParaRPr lang="en-US" sz="1984" dirty="0"/>
              </a:p>
            </p:txBody>
          </p:sp>
          <p:sp>
            <p:nvSpPr>
              <p:cNvPr id="12" name="Freihandform: Form 11">
                <a:extLst>
                  <a:ext uri="{FF2B5EF4-FFF2-40B4-BE49-F238E27FC236}">
                    <a16:creationId xmlns:a16="http://schemas.microsoft.com/office/drawing/2014/main" id="{C227C736-6F16-3069-9B4F-32231E413F28}"/>
                  </a:ext>
                </a:extLst>
              </p:cNvPr>
              <p:cNvSpPr/>
              <p:nvPr/>
            </p:nvSpPr>
            <p:spPr bwMode="gray">
              <a:xfrm>
                <a:off x="15786116" y="1136714"/>
                <a:ext cx="5246842" cy="3125073"/>
              </a:xfrm>
              <a:custGeom>
                <a:avLst/>
                <a:gdLst>
                  <a:gd name="connsiteX0" fmla="*/ 5692768 w 5692821"/>
                  <a:gd name="connsiteY0" fmla="*/ 3390704 h 3390703"/>
                  <a:gd name="connsiteX1" fmla="*/ 0 w 5692821"/>
                  <a:gd name="connsiteY1" fmla="*/ 3390704 h 3390703"/>
                  <a:gd name="connsiteX2" fmla="*/ 0 w 5692821"/>
                  <a:gd name="connsiteY2" fmla="*/ 153075 h 3390703"/>
                  <a:gd name="connsiteX3" fmla="*/ 153075 w 5692821"/>
                  <a:gd name="connsiteY3" fmla="*/ 0 h 3390703"/>
                  <a:gd name="connsiteX4" fmla="*/ 5539747 w 5692821"/>
                  <a:gd name="connsiteY4" fmla="*/ 0 h 3390703"/>
                  <a:gd name="connsiteX5" fmla="*/ 5692822 w 5692821"/>
                  <a:gd name="connsiteY5" fmla="*/ 153075 h 3390703"/>
                  <a:gd name="connsiteX6" fmla="*/ 5692822 w 5692821"/>
                  <a:gd name="connsiteY6" fmla="*/ 3390704 h 339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2821" h="3390703">
                    <a:moveTo>
                      <a:pt x="5692768" y="3390704"/>
                    </a:moveTo>
                    <a:lnTo>
                      <a:pt x="0" y="3390704"/>
                    </a:lnTo>
                    <a:lnTo>
                      <a:pt x="0" y="153075"/>
                    </a:lnTo>
                    <a:cubicBezTo>
                      <a:pt x="0" y="68897"/>
                      <a:pt x="68897" y="0"/>
                      <a:pt x="153075" y="0"/>
                    </a:cubicBezTo>
                    <a:lnTo>
                      <a:pt x="5539747" y="0"/>
                    </a:lnTo>
                    <a:cubicBezTo>
                      <a:pt x="5623925" y="0"/>
                      <a:pt x="5692822" y="68897"/>
                      <a:pt x="5692822" y="153075"/>
                    </a:cubicBezTo>
                    <a:lnTo>
                      <a:pt x="5692822" y="3390704"/>
                    </a:lnTo>
                    <a:close/>
                  </a:path>
                </a:pathLst>
              </a:custGeom>
              <a:solidFill>
                <a:schemeClr val="bg1"/>
              </a:solidFill>
              <a:ln w="6350" cap="rnd">
                <a:solidFill>
                  <a:schemeClr val="tx1"/>
                </a:solidFill>
                <a:prstDash val="solid"/>
                <a:round/>
              </a:ln>
            </p:spPr>
            <p:txBody>
              <a:bodyPr lIns="0" tIns="0" rIns="0" bIns="0" rtlCol="0" anchor="ctr"/>
              <a:lstStyle/>
              <a:p>
                <a:endParaRPr lang="en-US" sz="1984" dirty="0"/>
              </a:p>
            </p:txBody>
          </p:sp>
          <p:sp>
            <p:nvSpPr>
              <p:cNvPr id="13" name="Freihandform: Form 12">
                <a:extLst>
                  <a:ext uri="{FF2B5EF4-FFF2-40B4-BE49-F238E27FC236}">
                    <a16:creationId xmlns:a16="http://schemas.microsoft.com/office/drawing/2014/main" id="{072CAF29-5534-4B1F-3D7E-2C6A5B65188E}"/>
                  </a:ext>
                </a:extLst>
              </p:cNvPr>
              <p:cNvSpPr/>
              <p:nvPr/>
            </p:nvSpPr>
            <p:spPr bwMode="gray">
              <a:xfrm>
                <a:off x="20891827" y="4738882"/>
                <a:ext cx="50" cy="4976"/>
              </a:xfrm>
              <a:custGeom>
                <a:avLst/>
                <a:gdLst>
                  <a:gd name="connsiteX0" fmla="*/ 54 w 54"/>
                  <a:gd name="connsiteY0" fmla="*/ 0 h 5399"/>
                  <a:gd name="connsiteX1" fmla="*/ 0 w 54"/>
                  <a:gd name="connsiteY1" fmla="*/ 0 h 5399"/>
                  <a:gd name="connsiteX2" fmla="*/ 54 w 54"/>
                  <a:gd name="connsiteY2" fmla="*/ 0 h 5399"/>
                </a:gdLst>
                <a:ahLst/>
                <a:cxnLst>
                  <a:cxn ang="0">
                    <a:pos x="connsiteX0" y="connsiteY0"/>
                  </a:cxn>
                  <a:cxn ang="0">
                    <a:pos x="connsiteX1" y="connsiteY1"/>
                  </a:cxn>
                  <a:cxn ang="0">
                    <a:pos x="connsiteX2" y="connsiteY2"/>
                  </a:cxn>
                </a:cxnLst>
                <a:rect l="l" t="t" r="r" b="b"/>
                <a:pathLst>
                  <a:path w="54" h="5399">
                    <a:moveTo>
                      <a:pt x="54" y="0"/>
                    </a:moveTo>
                    <a:lnTo>
                      <a:pt x="0" y="0"/>
                    </a:lnTo>
                    <a:lnTo>
                      <a:pt x="54" y="0"/>
                    </a:lnTo>
                    <a:close/>
                  </a:path>
                </a:pathLst>
              </a:custGeom>
              <a:solidFill>
                <a:schemeClr val="tx1">
                  <a:lumMod val="65000"/>
                  <a:lumOff val="35000"/>
                </a:schemeClr>
              </a:solidFill>
              <a:ln w="5399" cap="flat">
                <a:noFill/>
                <a:prstDash val="solid"/>
                <a:miter/>
              </a:ln>
            </p:spPr>
            <p:txBody>
              <a:bodyPr lIns="0" tIns="0" rIns="0" bIns="0" rtlCol="0" anchor="ctr"/>
              <a:lstStyle/>
              <a:p>
                <a:endParaRPr lang="en-US" sz="1984" dirty="0"/>
              </a:p>
            </p:txBody>
          </p:sp>
          <p:sp>
            <p:nvSpPr>
              <p:cNvPr id="14" name="Freihandform: Form 13">
                <a:extLst>
                  <a:ext uri="{FF2B5EF4-FFF2-40B4-BE49-F238E27FC236}">
                    <a16:creationId xmlns:a16="http://schemas.microsoft.com/office/drawing/2014/main" id="{C255372F-5441-EF39-0DDE-586DCD1D2AEC}"/>
                  </a:ext>
                </a:extLst>
              </p:cNvPr>
              <p:cNvSpPr/>
              <p:nvPr/>
            </p:nvSpPr>
            <p:spPr bwMode="gray">
              <a:xfrm>
                <a:off x="20927037" y="4738857"/>
                <a:ext cx="50" cy="4976"/>
              </a:xfrm>
              <a:custGeom>
                <a:avLst/>
                <a:gdLst>
                  <a:gd name="connsiteX0" fmla="*/ 54 w 54"/>
                  <a:gd name="connsiteY0" fmla="*/ 0 h 5399"/>
                  <a:gd name="connsiteX1" fmla="*/ 0 w 54"/>
                  <a:gd name="connsiteY1" fmla="*/ 0 h 5399"/>
                  <a:gd name="connsiteX2" fmla="*/ 54 w 54"/>
                  <a:gd name="connsiteY2" fmla="*/ 0 h 5399"/>
                </a:gdLst>
                <a:ahLst/>
                <a:cxnLst>
                  <a:cxn ang="0">
                    <a:pos x="connsiteX0" y="connsiteY0"/>
                  </a:cxn>
                  <a:cxn ang="0">
                    <a:pos x="connsiteX1" y="connsiteY1"/>
                  </a:cxn>
                  <a:cxn ang="0">
                    <a:pos x="connsiteX2" y="connsiteY2"/>
                  </a:cxn>
                </a:cxnLst>
                <a:rect l="l" t="t" r="r" b="b"/>
                <a:pathLst>
                  <a:path w="54" h="5399">
                    <a:moveTo>
                      <a:pt x="54" y="0"/>
                    </a:moveTo>
                    <a:lnTo>
                      <a:pt x="0" y="0"/>
                    </a:lnTo>
                    <a:lnTo>
                      <a:pt x="54" y="0"/>
                    </a:lnTo>
                    <a:close/>
                  </a:path>
                </a:pathLst>
              </a:custGeom>
              <a:solidFill>
                <a:schemeClr val="tx1">
                  <a:lumMod val="65000"/>
                  <a:lumOff val="35000"/>
                </a:schemeClr>
              </a:solidFill>
              <a:ln w="5399" cap="flat">
                <a:noFill/>
                <a:prstDash val="solid"/>
                <a:miter/>
              </a:ln>
            </p:spPr>
            <p:txBody>
              <a:bodyPr lIns="0" tIns="0" rIns="0" bIns="0" rtlCol="0" anchor="ctr"/>
              <a:lstStyle/>
              <a:p>
                <a:endParaRPr lang="en-US" sz="1984" dirty="0"/>
              </a:p>
            </p:txBody>
          </p:sp>
        </p:grpSp>
      </p:grpSp>
      <p:sp>
        <p:nvSpPr>
          <p:cNvPr id="17" name="Bild 1">
            <a:extLst>
              <a:ext uri="{FF2B5EF4-FFF2-40B4-BE49-F238E27FC236}">
                <a16:creationId xmlns:a16="http://schemas.microsoft.com/office/drawing/2014/main" id="{EDB15B39-265E-1B94-718D-6D56E8048638}"/>
              </a:ext>
            </a:extLst>
          </p:cNvPr>
          <p:cNvSpPr>
            <a:spLocks noGrp="1" noChangeAspect="1"/>
          </p:cNvSpPr>
          <p:nvPr>
            <p:ph type="pic" sz="quarter" idx="18"/>
          </p:nvPr>
        </p:nvSpPr>
        <p:spPr bwMode="gray">
          <a:xfrm>
            <a:off x="3864551" y="1883098"/>
            <a:ext cx="5072760" cy="2841934"/>
          </a:xfrm>
          <a:custGeom>
            <a:avLst/>
            <a:gdLst>
              <a:gd name="connsiteX0" fmla="*/ 0 w 4831200"/>
              <a:gd name="connsiteY0" fmla="*/ 0 h 2707200"/>
              <a:gd name="connsiteX1" fmla="*/ 4831200 w 4831200"/>
              <a:gd name="connsiteY1" fmla="*/ 0 h 2707200"/>
              <a:gd name="connsiteX2" fmla="*/ 4831200 w 4831200"/>
              <a:gd name="connsiteY2" fmla="*/ 2158113 h 2707200"/>
              <a:gd name="connsiteX3" fmla="*/ 3643864 w 4831200"/>
              <a:gd name="connsiteY3" fmla="*/ 2158113 h 2707200"/>
              <a:gd name="connsiteX4" fmla="*/ 3549352 w 4831200"/>
              <a:gd name="connsiteY4" fmla="*/ 2252625 h 2707200"/>
              <a:gd name="connsiteX5" fmla="*/ 3549352 w 4831200"/>
              <a:gd name="connsiteY5" fmla="*/ 2282984 h 2707200"/>
              <a:gd name="connsiteX6" fmla="*/ 3549352 w 4831200"/>
              <a:gd name="connsiteY6" fmla="*/ 2707200 h 2707200"/>
              <a:gd name="connsiteX7" fmla="*/ 1073232 w 4831200"/>
              <a:gd name="connsiteY7" fmla="*/ 2707200 h 2707200"/>
              <a:gd name="connsiteX8" fmla="*/ 1073232 w 4831200"/>
              <a:gd name="connsiteY8" fmla="*/ 1967209 h 2707200"/>
              <a:gd name="connsiteX9" fmla="*/ 1073232 w 4831200"/>
              <a:gd name="connsiteY9" fmla="*/ 1941049 h 2707200"/>
              <a:gd name="connsiteX10" fmla="*/ 986465 w 4831200"/>
              <a:gd name="connsiteY10" fmla="*/ 1854283 h 2707200"/>
              <a:gd name="connsiteX11" fmla="*/ 0 w 4831200"/>
              <a:gd name="connsiteY11" fmla="*/ 1854283 h 270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1200" h="2707200">
                <a:moveTo>
                  <a:pt x="0" y="0"/>
                </a:moveTo>
                <a:lnTo>
                  <a:pt x="4831200" y="0"/>
                </a:lnTo>
                <a:lnTo>
                  <a:pt x="4831200" y="2158113"/>
                </a:lnTo>
                <a:lnTo>
                  <a:pt x="3643864" y="2158113"/>
                </a:lnTo>
                <a:cubicBezTo>
                  <a:pt x="3591891" y="2158113"/>
                  <a:pt x="3549352" y="2200652"/>
                  <a:pt x="3549352" y="2252625"/>
                </a:cubicBezTo>
                <a:lnTo>
                  <a:pt x="3549352" y="2282984"/>
                </a:lnTo>
                <a:lnTo>
                  <a:pt x="3549352" y="2707200"/>
                </a:lnTo>
                <a:lnTo>
                  <a:pt x="1073232" y="2707200"/>
                </a:lnTo>
                <a:lnTo>
                  <a:pt x="1073232" y="1967209"/>
                </a:lnTo>
                <a:lnTo>
                  <a:pt x="1073232" y="1941049"/>
                </a:lnTo>
                <a:cubicBezTo>
                  <a:pt x="1073232" y="1893215"/>
                  <a:pt x="1034300" y="1854283"/>
                  <a:pt x="986465" y="1854283"/>
                </a:cubicBezTo>
                <a:lnTo>
                  <a:pt x="0" y="1854283"/>
                </a:lnTo>
                <a:close/>
              </a:path>
            </a:pathLst>
          </a:custGeom>
          <a:solidFill>
            <a:schemeClr val="bg1">
              <a:lumMod val="85000"/>
            </a:schemeClr>
          </a:solidFill>
        </p:spPr>
        <p:txBody>
          <a:bodyPr vert="horz" wrap="square" lIns="144000" tIns="144000" rIns="144000" bIns="144000" rtlCol="0">
            <a:noAutofit/>
          </a:bodyPr>
          <a:lstStyle>
            <a:lvl1pPr>
              <a:defRPr lang="en-US"/>
            </a:lvl1pPr>
          </a:lstStyle>
          <a:p>
            <a:pPr lvl="0">
              <a:buFont typeface="Arial" panose="020B0604020202020204" pitchFamily="34" charset="0"/>
              <a:buNone/>
            </a:pPr>
            <a:r>
              <a:rPr lang="en-US"/>
              <a:t>Click icon to add picture</a:t>
            </a:r>
            <a:endParaRPr lang="en-US" dirty="0"/>
          </a:p>
        </p:txBody>
      </p:sp>
      <p:grpSp>
        <p:nvGrpSpPr>
          <p:cNvPr id="18" name="MacBookAir">
            <a:extLst>
              <a:ext uri="{FF2B5EF4-FFF2-40B4-BE49-F238E27FC236}">
                <a16:creationId xmlns:a16="http://schemas.microsoft.com/office/drawing/2014/main" id="{7C422BD1-C63F-2234-2008-26DDDB349EF8}"/>
              </a:ext>
            </a:extLst>
          </p:cNvPr>
          <p:cNvGrpSpPr>
            <a:grpSpLocks noChangeAspect="1"/>
          </p:cNvGrpSpPr>
          <p:nvPr userDrawn="1"/>
        </p:nvGrpSpPr>
        <p:grpSpPr bwMode="gray">
          <a:xfrm>
            <a:off x="1387042" y="3829666"/>
            <a:ext cx="3968010" cy="2269935"/>
            <a:chOff x="1320992" y="3648105"/>
            <a:chExt cx="3779057" cy="2162319"/>
          </a:xfrm>
          <a:effectLst/>
        </p:grpSpPr>
        <p:sp>
          <p:nvSpPr>
            <p:cNvPr id="19" name="Freihandform: Form 18">
              <a:extLst>
                <a:ext uri="{FF2B5EF4-FFF2-40B4-BE49-F238E27FC236}">
                  <a16:creationId xmlns:a16="http://schemas.microsoft.com/office/drawing/2014/main" id="{C3F9081C-B7B3-1855-9625-EF5C9B2D9BB8}"/>
                </a:ext>
              </a:extLst>
            </p:cNvPr>
            <p:cNvSpPr/>
            <p:nvPr/>
          </p:nvSpPr>
          <p:spPr bwMode="gray">
            <a:xfrm>
              <a:off x="1671529" y="3648105"/>
              <a:ext cx="3086472" cy="2137321"/>
            </a:xfrm>
            <a:custGeom>
              <a:avLst/>
              <a:gdLst>
                <a:gd name="connsiteX0" fmla="*/ 123952 w 4409245"/>
                <a:gd name="connsiteY0" fmla="*/ 3053318 h 3053317"/>
                <a:gd name="connsiteX1" fmla="*/ 0 w 4409245"/>
                <a:gd name="connsiteY1" fmla="*/ 2929365 h 3053317"/>
                <a:gd name="connsiteX2" fmla="*/ 0 w 4409245"/>
                <a:gd name="connsiteY2" fmla="*/ 123952 h 3053317"/>
                <a:gd name="connsiteX3" fmla="*/ 123952 w 4409245"/>
                <a:gd name="connsiteY3" fmla="*/ 0 h 3053317"/>
                <a:gd name="connsiteX4" fmla="*/ 4285294 w 4409245"/>
                <a:gd name="connsiteY4" fmla="*/ 0 h 3053317"/>
                <a:gd name="connsiteX5" fmla="*/ 4409246 w 4409245"/>
                <a:gd name="connsiteY5" fmla="*/ 123952 h 3053317"/>
                <a:gd name="connsiteX6" fmla="*/ 4409246 w 4409245"/>
                <a:gd name="connsiteY6" fmla="*/ 2929365 h 3053317"/>
                <a:gd name="connsiteX7" fmla="*/ 4285294 w 4409245"/>
                <a:gd name="connsiteY7" fmla="*/ 3053318 h 3053317"/>
                <a:gd name="connsiteX8" fmla="*/ 123952 w 4409245"/>
                <a:gd name="connsiteY8" fmla="*/ 3053318 h 305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9245" h="3053317">
                  <a:moveTo>
                    <a:pt x="123952" y="3053318"/>
                  </a:moveTo>
                  <a:cubicBezTo>
                    <a:pt x="55617" y="3053318"/>
                    <a:pt x="0" y="2997701"/>
                    <a:pt x="0" y="2929365"/>
                  </a:cubicBezTo>
                  <a:lnTo>
                    <a:pt x="0" y="123952"/>
                  </a:lnTo>
                  <a:cubicBezTo>
                    <a:pt x="0" y="55617"/>
                    <a:pt x="55617" y="0"/>
                    <a:pt x="123952" y="0"/>
                  </a:cubicBezTo>
                  <a:lnTo>
                    <a:pt x="4285294" y="0"/>
                  </a:lnTo>
                  <a:cubicBezTo>
                    <a:pt x="4353629" y="0"/>
                    <a:pt x="4409246" y="55617"/>
                    <a:pt x="4409246" y="123952"/>
                  </a:cubicBezTo>
                  <a:lnTo>
                    <a:pt x="4409246" y="2929365"/>
                  </a:lnTo>
                  <a:cubicBezTo>
                    <a:pt x="4409246" y="2997701"/>
                    <a:pt x="4353629" y="3053318"/>
                    <a:pt x="4285294" y="3053318"/>
                  </a:cubicBezTo>
                  <a:lnTo>
                    <a:pt x="123952" y="3053318"/>
                  </a:ln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sp>
          <p:nvSpPr>
            <p:cNvPr id="20" name="Freihandform: Form 19">
              <a:extLst>
                <a:ext uri="{FF2B5EF4-FFF2-40B4-BE49-F238E27FC236}">
                  <a16:creationId xmlns:a16="http://schemas.microsoft.com/office/drawing/2014/main" id="{EBB87932-7A13-B487-B671-03B9BC9DB836}"/>
                </a:ext>
              </a:extLst>
            </p:cNvPr>
            <p:cNvSpPr/>
            <p:nvPr/>
          </p:nvSpPr>
          <p:spPr bwMode="gray">
            <a:xfrm>
              <a:off x="1679074" y="3655650"/>
              <a:ext cx="3071420" cy="2122232"/>
            </a:xfrm>
            <a:custGeom>
              <a:avLst/>
              <a:gdLst>
                <a:gd name="connsiteX0" fmla="*/ 4387743 w 4387742"/>
                <a:gd name="connsiteY0" fmla="*/ 2918587 h 3031760"/>
                <a:gd name="connsiteX1" fmla="*/ 4274569 w 4387742"/>
                <a:gd name="connsiteY1" fmla="*/ 3031761 h 3031760"/>
                <a:gd name="connsiteX2" fmla="*/ 113174 w 4387742"/>
                <a:gd name="connsiteY2" fmla="*/ 3031761 h 3031760"/>
                <a:gd name="connsiteX3" fmla="*/ 0 w 4387742"/>
                <a:gd name="connsiteY3" fmla="*/ 2918587 h 3031760"/>
                <a:gd name="connsiteX4" fmla="*/ 0 w 4387742"/>
                <a:gd name="connsiteY4" fmla="*/ 113174 h 3031760"/>
                <a:gd name="connsiteX5" fmla="*/ 113174 w 4387742"/>
                <a:gd name="connsiteY5" fmla="*/ 0 h 3031760"/>
                <a:gd name="connsiteX6" fmla="*/ 4274515 w 4387742"/>
                <a:gd name="connsiteY6" fmla="*/ 0 h 3031760"/>
                <a:gd name="connsiteX7" fmla="*/ 4387689 w 4387742"/>
                <a:gd name="connsiteY7" fmla="*/ 113174 h 3031760"/>
                <a:gd name="connsiteX8" fmla="*/ 4387689 w 4387742"/>
                <a:gd name="connsiteY8" fmla="*/ 2918587 h 303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7742" h="3031760">
                  <a:moveTo>
                    <a:pt x="4387743" y="2918587"/>
                  </a:moveTo>
                  <a:cubicBezTo>
                    <a:pt x="4387743" y="2981102"/>
                    <a:pt x="4337084" y="3031761"/>
                    <a:pt x="4274569" y="3031761"/>
                  </a:cubicBezTo>
                  <a:lnTo>
                    <a:pt x="113174" y="3031761"/>
                  </a:lnTo>
                  <a:cubicBezTo>
                    <a:pt x="50659" y="3031761"/>
                    <a:pt x="0" y="2981102"/>
                    <a:pt x="0" y="2918587"/>
                  </a:cubicBezTo>
                  <a:lnTo>
                    <a:pt x="0" y="113174"/>
                  </a:lnTo>
                  <a:cubicBezTo>
                    <a:pt x="0" y="50659"/>
                    <a:pt x="50659" y="0"/>
                    <a:pt x="113174" y="0"/>
                  </a:cubicBezTo>
                  <a:lnTo>
                    <a:pt x="4274515" y="0"/>
                  </a:lnTo>
                  <a:cubicBezTo>
                    <a:pt x="4337030" y="0"/>
                    <a:pt x="4387689" y="50659"/>
                    <a:pt x="4387689" y="113174"/>
                  </a:cubicBezTo>
                  <a:lnTo>
                    <a:pt x="4387689" y="2918587"/>
                  </a:ln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sp>
          <p:nvSpPr>
            <p:cNvPr id="21" name="Freihandform: Form 20">
              <a:extLst>
                <a:ext uri="{FF2B5EF4-FFF2-40B4-BE49-F238E27FC236}">
                  <a16:creationId xmlns:a16="http://schemas.microsoft.com/office/drawing/2014/main" id="{CA0FF636-0199-6212-C6D5-2C42B59425A4}"/>
                </a:ext>
              </a:extLst>
            </p:cNvPr>
            <p:cNvSpPr/>
            <p:nvPr/>
          </p:nvSpPr>
          <p:spPr bwMode="gray">
            <a:xfrm>
              <a:off x="1679074" y="5663392"/>
              <a:ext cx="3071382" cy="69488"/>
            </a:xfrm>
            <a:custGeom>
              <a:avLst/>
              <a:gdLst>
                <a:gd name="connsiteX0" fmla="*/ 0 w 4387688"/>
                <a:gd name="connsiteY0" fmla="*/ 50389 h 99269"/>
                <a:gd name="connsiteX1" fmla="*/ 11210 w 4387688"/>
                <a:gd name="connsiteY1" fmla="*/ 99269 h 99269"/>
                <a:gd name="connsiteX2" fmla="*/ 4376479 w 4387688"/>
                <a:gd name="connsiteY2" fmla="*/ 99269 h 99269"/>
                <a:gd name="connsiteX3" fmla="*/ 4387689 w 4387688"/>
                <a:gd name="connsiteY3" fmla="*/ 50389 h 99269"/>
                <a:gd name="connsiteX4" fmla="*/ 4387689 w 4387688"/>
                <a:gd name="connsiteY4" fmla="*/ 0 h 99269"/>
                <a:gd name="connsiteX5" fmla="*/ 0 w 4387688"/>
                <a:gd name="connsiteY5" fmla="*/ 0 h 99269"/>
                <a:gd name="connsiteX6" fmla="*/ 0 w 4387688"/>
                <a:gd name="connsiteY6" fmla="*/ 50389 h 9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88" h="99269">
                  <a:moveTo>
                    <a:pt x="0" y="50389"/>
                  </a:moveTo>
                  <a:cubicBezTo>
                    <a:pt x="0" y="67904"/>
                    <a:pt x="4096" y="84449"/>
                    <a:pt x="11210" y="99269"/>
                  </a:cubicBezTo>
                  <a:lnTo>
                    <a:pt x="4376479" y="99269"/>
                  </a:lnTo>
                  <a:cubicBezTo>
                    <a:pt x="4383593" y="84449"/>
                    <a:pt x="4387689" y="67958"/>
                    <a:pt x="4387689" y="50389"/>
                  </a:cubicBezTo>
                  <a:lnTo>
                    <a:pt x="4387689" y="0"/>
                  </a:lnTo>
                  <a:lnTo>
                    <a:pt x="0" y="0"/>
                  </a:lnTo>
                  <a:lnTo>
                    <a:pt x="0" y="50389"/>
                  </a:ln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sp>
          <p:nvSpPr>
            <p:cNvPr id="22" name="Freihandform: Form 21">
              <a:extLst>
                <a:ext uri="{FF2B5EF4-FFF2-40B4-BE49-F238E27FC236}">
                  <a16:creationId xmlns:a16="http://schemas.microsoft.com/office/drawing/2014/main" id="{B885304B-D1A9-3A18-25B6-4461C023EC55}"/>
                </a:ext>
              </a:extLst>
            </p:cNvPr>
            <p:cNvSpPr/>
            <p:nvPr/>
          </p:nvSpPr>
          <p:spPr bwMode="gray">
            <a:xfrm>
              <a:off x="1320993" y="5743763"/>
              <a:ext cx="3779019" cy="66661"/>
            </a:xfrm>
            <a:custGeom>
              <a:avLst/>
              <a:gdLst>
                <a:gd name="connsiteX0" fmla="*/ 0 w 5398598"/>
                <a:gd name="connsiteY0" fmla="*/ 15523 h 95229"/>
                <a:gd name="connsiteX1" fmla="*/ 342647 w 5398598"/>
                <a:gd name="connsiteY1" fmla="*/ 86661 h 95229"/>
                <a:gd name="connsiteX2" fmla="*/ 628222 w 5398598"/>
                <a:gd name="connsiteY2" fmla="*/ 95229 h 95229"/>
                <a:gd name="connsiteX3" fmla="*/ 2730288 w 5398598"/>
                <a:gd name="connsiteY3" fmla="*/ 95229 h 95229"/>
                <a:gd name="connsiteX4" fmla="*/ 4833809 w 5398598"/>
                <a:gd name="connsiteY4" fmla="*/ 95229 h 95229"/>
                <a:gd name="connsiteX5" fmla="*/ 5398599 w 5398598"/>
                <a:gd name="connsiteY5" fmla="*/ 15577 h 95229"/>
                <a:gd name="connsiteX6" fmla="*/ 5378497 w 5398598"/>
                <a:gd name="connsiteY6" fmla="*/ 56 h 95229"/>
                <a:gd name="connsiteX7" fmla="*/ 7545 w 5398598"/>
                <a:gd name="connsiteY7" fmla="*/ 56 h 95229"/>
                <a:gd name="connsiteX8" fmla="*/ 0 w 5398598"/>
                <a:gd name="connsiteY8" fmla="*/ 15523 h 9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8598" h="95229">
                  <a:moveTo>
                    <a:pt x="0" y="15523"/>
                  </a:moveTo>
                  <a:cubicBezTo>
                    <a:pt x="0" y="15523"/>
                    <a:pt x="122335" y="66128"/>
                    <a:pt x="342647" y="86661"/>
                  </a:cubicBezTo>
                  <a:cubicBezTo>
                    <a:pt x="406186" y="92912"/>
                    <a:pt x="430060" y="95229"/>
                    <a:pt x="628222" y="95229"/>
                  </a:cubicBezTo>
                  <a:cubicBezTo>
                    <a:pt x="826383" y="95229"/>
                    <a:pt x="2730288" y="95229"/>
                    <a:pt x="2730288" y="95229"/>
                  </a:cubicBezTo>
                  <a:lnTo>
                    <a:pt x="4833809" y="95229"/>
                  </a:lnTo>
                  <a:cubicBezTo>
                    <a:pt x="4833809" y="95229"/>
                    <a:pt x="5310324" y="80193"/>
                    <a:pt x="5398599" y="15577"/>
                  </a:cubicBezTo>
                  <a:cubicBezTo>
                    <a:pt x="5398599" y="-1777"/>
                    <a:pt x="5378497" y="56"/>
                    <a:pt x="5378497" y="56"/>
                  </a:cubicBezTo>
                  <a:lnTo>
                    <a:pt x="7545" y="56"/>
                  </a:lnTo>
                  <a:cubicBezTo>
                    <a:pt x="7545" y="56"/>
                    <a:pt x="0" y="5768"/>
                    <a:pt x="0" y="15523"/>
                  </a:cubicBezTo>
                  <a:close/>
                </a:path>
              </a:pathLst>
            </a:custGeom>
            <a:solidFill>
              <a:schemeClr val="bg1"/>
            </a:solidFill>
            <a:ln w="538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23" name="Freihandform: Form 22">
              <a:extLst>
                <a:ext uri="{FF2B5EF4-FFF2-40B4-BE49-F238E27FC236}">
                  <a16:creationId xmlns:a16="http://schemas.microsoft.com/office/drawing/2014/main" id="{2A1923B1-6F8A-64C0-4BCB-EC4C2BBEA1A0}"/>
                </a:ext>
              </a:extLst>
            </p:cNvPr>
            <p:cNvSpPr/>
            <p:nvPr/>
          </p:nvSpPr>
          <p:spPr bwMode="gray">
            <a:xfrm>
              <a:off x="1320992" y="5732899"/>
              <a:ext cx="3779057" cy="21692"/>
            </a:xfrm>
            <a:custGeom>
              <a:avLst/>
              <a:gdLst>
                <a:gd name="connsiteX0" fmla="*/ 0 w 5398652"/>
                <a:gd name="connsiteY0" fmla="*/ 0 h 30988"/>
                <a:gd name="connsiteX1" fmla="*/ 5398653 w 5398652"/>
                <a:gd name="connsiteY1" fmla="*/ 0 h 30988"/>
                <a:gd name="connsiteX2" fmla="*/ 5398653 w 5398652"/>
                <a:gd name="connsiteY2" fmla="*/ 30988 h 30988"/>
                <a:gd name="connsiteX3" fmla="*/ 0 w 5398652"/>
                <a:gd name="connsiteY3" fmla="*/ 30988 h 30988"/>
              </a:gdLst>
              <a:ahLst/>
              <a:cxnLst>
                <a:cxn ang="0">
                  <a:pos x="connsiteX0" y="connsiteY0"/>
                </a:cxn>
                <a:cxn ang="0">
                  <a:pos x="connsiteX1" y="connsiteY1"/>
                </a:cxn>
                <a:cxn ang="0">
                  <a:pos x="connsiteX2" y="connsiteY2"/>
                </a:cxn>
                <a:cxn ang="0">
                  <a:pos x="connsiteX3" y="connsiteY3"/>
                </a:cxn>
              </a:cxnLst>
              <a:rect l="l" t="t" r="r" b="b"/>
              <a:pathLst>
                <a:path w="5398652" h="30988">
                  <a:moveTo>
                    <a:pt x="0" y="0"/>
                  </a:moveTo>
                  <a:lnTo>
                    <a:pt x="5398653" y="0"/>
                  </a:lnTo>
                  <a:lnTo>
                    <a:pt x="5398653" y="30988"/>
                  </a:lnTo>
                  <a:lnTo>
                    <a:pt x="0" y="30988"/>
                  </a:ln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24" name="Freihandform: Form 23">
              <a:extLst>
                <a:ext uri="{FF2B5EF4-FFF2-40B4-BE49-F238E27FC236}">
                  <a16:creationId xmlns:a16="http://schemas.microsoft.com/office/drawing/2014/main" id="{34436A28-682A-2ACA-DDDD-A37A9BCAA7B5}"/>
                </a:ext>
              </a:extLst>
            </p:cNvPr>
            <p:cNvSpPr/>
            <p:nvPr/>
          </p:nvSpPr>
          <p:spPr bwMode="gray">
            <a:xfrm>
              <a:off x="2892786" y="5732859"/>
              <a:ext cx="638337" cy="30029"/>
            </a:xfrm>
            <a:custGeom>
              <a:avLst/>
              <a:gdLst>
                <a:gd name="connsiteX0" fmla="*/ 0 w 911910"/>
                <a:gd name="connsiteY0" fmla="*/ 0 h 42898"/>
                <a:gd name="connsiteX1" fmla="*/ 0 w 911910"/>
                <a:gd name="connsiteY1" fmla="*/ 30988 h 42898"/>
                <a:gd name="connsiteX2" fmla="*/ 25653 w 911910"/>
                <a:gd name="connsiteY2" fmla="*/ 33521 h 42898"/>
                <a:gd name="connsiteX3" fmla="*/ 53030 w 911910"/>
                <a:gd name="connsiteY3" fmla="*/ 41820 h 42898"/>
                <a:gd name="connsiteX4" fmla="*/ 70383 w 911910"/>
                <a:gd name="connsiteY4" fmla="*/ 42898 h 42898"/>
                <a:gd name="connsiteX5" fmla="*/ 841527 w 911910"/>
                <a:gd name="connsiteY5" fmla="*/ 42898 h 42898"/>
                <a:gd name="connsiteX6" fmla="*/ 858880 w 911910"/>
                <a:gd name="connsiteY6" fmla="*/ 41820 h 42898"/>
                <a:gd name="connsiteX7" fmla="*/ 886257 w 911910"/>
                <a:gd name="connsiteY7" fmla="*/ 33521 h 42898"/>
                <a:gd name="connsiteX8" fmla="*/ 911910 w 911910"/>
                <a:gd name="connsiteY8" fmla="*/ 30988 h 42898"/>
                <a:gd name="connsiteX9" fmla="*/ 911910 w 911910"/>
                <a:gd name="connsiteY9" fmla="*/ 0 h 42898"/>
                <a:gd name="connsiteX10" fmla="*/ 0 w 911910"/>
                <a:gd name="connsiteY10" fmla="*/ 0 h 4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910" h="42898">
                  <a:moveTo>
                    <a:pt x="0" y="0"/>
                  </a:moveTo>
                  <a:lnTo>
                    <a:pt x="0" y="30988"/>
                  </a:lnTo>
                  <a:cubicBezTo>
                    <a:pt x="0" y="30988"/>
                    <a:pt x="16761" y="30826"/>
                    <a:pt x="25653" y="33521"/>
                  </a:cubicBezTo>
                  <a:cubicBezTo>
                    <a:pt x="36539" y="36755"/>
                    <a:pt x="45970" y="40689"/>
                    <a:pt x="53030" y="41820"/>
                  </a:cubicBezTo>
                  <a:cubicBezTo>
                    <a:pt x="56802" y="42413"/>
                    <a:pt x="70383" y="42898"/>
                    <a:pt x="70383" y="42898"/>
                  </a:cubicBezTo>
                  <a:lnTo>
                    <a:pt x="841527" y="42898"/>
                  </a:lnTo>
                  <a:cubicBezTo>
                    <a:pt x="841527" y="42898"/>
                    <a:pt x="855108" y="42413"/>
                    <a:pt x="858880" y="41820"/>
                  </a:cubicBezTo>
                  <a:cubicBezTo>
                    <a:pt x="865940" y="40689"/>
                    <a:pt x="875371" y="36808"/>
                    <a:pt x="886257" y="33521"/>
                  </a:cubicBezTo>
                  <a:cubicBezTo>
                    <a:pt x="895150" y="30880"/>
                    <a:pt x="911910" y="30988"/>
                    <a:pt x="911910" y="30988"/>
                  </a:cubicBezTo>
                  <a:lnTo>
                    <a:pt x="911910" y="0"/>
                  </a:lnTo>
                  <a:lnTo>
                    <a:pt x="0" y="0"/>
                  </a:ln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grpSp>
      <p:sp>
        <p:nvSpPr>
          <p:cNvPr id="25" name="Bild 2">
            <a:extLst>
              <a:ext uri="{FF2B5EF4-FFF2-40B4-BE49-F238E27FC236}">
                <a16:creationId xmlns:a16="http://schemas.microsoft.com/office/drawing/2014/main" id="{36AE352C-E67A-2423-5633-51FBC5AC4C9B}"/>
              </a:ext>
            </a:extLst>
          </p:cNvPr>
          <p:cNvSpPr>
            <a:spLocks noGrp="1" noChangeAspect="1"/>
          </p:cNvSpPr>
          <p:nvPr>
            <p:ph type="pic" sz="quarter" idx="14"/>
          </p:nvPr>
        </p:nvSpPr>
        <p:spPr bwMode="gray">
          <a:xfrm>
            <a:off x="1832505" y="3957779"/>
            <a:ext cx="3088260" cy="1938713"/>
          </a:xfrm>
          <a:solidFill>
            <a:schemeClr val="bg1">
              <a:lumMod val="85000"/>
            </a:schemeClr>
          </a:solidFill>
        </p:spPr>
        <p:txBody>
          <a:bodyPr vert="horz" lIns="144000" tIns="144000" rIns="144000" bIns="144000" rtlCol="0">
            <a:noAutofit/>
          </a:bodyPr>
          <a:lstStyle>
            <a:lvl1pPr marL="0" indent="0" algn="l">
              <a:buFont typeface="Arial" panose="020B0604020202020204" pitchFamily="34" charset="0"/>
              <a:buNone/>
              <a:defRPr lang="en-US"/>
            </a:lvl1pPr>
          </a:lstStyle>
          <a:p>
            <a:pPr marL="283474" lvl="0" indent="-283474"/>
            <a:r>
              <a:rPr lang="en-US" noProof="0"/>
              <a:t>Click icon to add picture</a:t>
            </a:r>
            <a:endParaRPr lang="de-DE" noProof="0" dirty="0"/>
          </a:p>
        </p:txBody>
      </p:sp>
      <p:grpSp>
        <p:nvGrpSpPr>
          <p:cNvPr id="26" name="iPad">
            <a:extLst>
              <a:ext uri="{FF2B5EF4-FFF2-40B4-BE49-F238E27FC236}">
                <a16:creationId xmlns:a16="http://schemas.microsoft.com/office/drawing/2014/main" id="{DA7606B8-8D2D-E029-8DD9-810C482BC847}"/>
              </a:ext>
            </a:extLst>
          </p:cNvPr>
          <p:cNvGrpSpPr>
            <a:grpSpLocks noChangeAspect="1"/>
          </p:cNvGrpSpPr>
          <p:nvPr userDrawn="1"/>
        </p:nvGrpSpPr>
        <p:grpSpPr bwMode="gray">
          <a:xfrm>
            <a:off x="7591371" y="4148618"/>
            <a:ext cx="2805881" cy="1950958"/>
            <a:chOff x="2277427" y="8504224"/>
            <a:chExt cx="7635049" cy="5309901"/>
          </a:xfrm>
          <a:effectLst/>
        </p:grpSpPr>
        <p:sp>
          <p:nvSpPr>
            <p:cNvPr id="27" name="Freihandform: Form 26">
              <a:extLst>
                <a:ext uri="{FF2B5EF4-FFF2-40B4-BE49-F238E27FC236}">
                  <a16:creationId xmlns:a16="http://schemas.microsoft.com/office/drawing/2014/main" id="{F192458A-C5CB-AE12-96A2-86E98133E8D0}"/>
                </a:ext>
              </a:extLst>
            </p:cNvPr>
            <p:cNvSpPr/>
            <p:nvPr/>
          </p:nvSpPr>
          <p:spPr bwMode="gray">
            <a:xfrm>
              <a:off x="2277427" y="8504224"/>
              <a:ext cx="7635049" cy="5309901"/>
            </a:xfrm>
            <a:custGeom>
              <a:avLst/>
              <a:gdLst>
                <a:gd name="connsiteX0" fmla="*/ 7364921 w 7635049"/>
                <a:gd name="connsiteY0" fmla="*/ 5309902 h 5309901"/>
                <a:gd name="connsiteX1" fmla="*/ 270034 w 7635049"/>
                <a:gd name="connsiteY1" fmla="*/ 5309902 h 5309901"/>
                <a:gd name="connsiteX2" fmla="*/ 0 w 7635049"/>
                <a:gd name="connsiteY2" fmla="*/ 5039868 h 5309901"/>
                <a:gd name="connsiteX3" fmla="*/ 0 w 7635049"/>
                <a:gd name="connsiteY3" fmla="*/ 270034 h 5309901"/>
                <a:gd name="connsiteX4" fmla="*/ 270034 w 7635049"/>
                <a:gd name="connsiteY4" fmla="*/ 0 h 5309901"/>
                <a:gd name="connsiteX5" fmla="*/ 7365016 w 7635049"/>
                <a:gd name="connsiteY5" fmla="*/ 0 h 5309901"/>
                <a:gd name="connsiteX6" fmla="*/ 7635050 w 7635049"/>
                <a:gd name="connsiteY6" fmla="*/ 270034 h 5309901"/>
                <a:gd name="connsiteX7" fmla="*/ 7635050 w 7635049"/>
                <a:gd name="connsiteY7" fmla="*/ 5039963 h 5309901"/>
                <a:gd name="connsiteX8" fmla="*/ 7364921 w 7635049"/>
                <a:gd name="connsiteY8" fmla="*/ 5309902 h 530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5049" h="5309901">
                  <a:moveTo>
                    <a:pt x="7364921" y="5309902"/>
                  </a:moveTo>
                  <a:lnTo>
                    <a:pt x="270034" y="5309902"/>
                  </a:lnTo>
                  <a:cubicBezTo>
                    <a:pt x="121539" y="5309902"/>
                    <a:pt x="0" y="5188363"/>
                    <a:pt x="0" y="5039868"/>
                  </a:cubicBezTo>
                  <a:lnTo>
                    <a:pt x="0" y="270034"/>
                  </a:lnTo>
                  <a:cubicBezTo>
                    <a:pt x="0" y="121539"/>
                    <a:pt x="121539" y="0"/>
                    <a:pt x="270034" y="0"/>
                  </a:cubicBezTo>
                  <a:lnTo>
                    <a:pt x="7365016" y="0"/>
                  </a:lnTo>
                  <a:cubicBezTo>
                    <a:pt x="7513511" y="0"/>
                    <a:pt x="7635050" y="121539"/>
                    <a:pt x="7635050" y="270034"/>
                  </a:cubicBezTo>
                  <a:lnTo>
                    <a:pt x="7635050" y="5039963"/>
                  </a:lnTo>
                  <a:cubicBezTo>
                    <a:pt x="7634954" y="5188458"/>
                    <a:pt x="7513415" y="5309902"/>
                    <a:pt x="7364921" y="5309902"/>
                  </a:cubicBez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28" name="Freihandform: Form 27">
              <a:extLst>
                <a:ext uri="{FF2B5EF4-FFF2-40B4-BE49-F238E27FC236}">
                  <a16:creationId xmlns:a16="http://schemas.microsoft.com/office/drawing/2014/main" id="{A3995437-B9A3-3FBA-3E05-BEDA02804CF5}"/>
                </a:ext>
              </a:extLst>
            </p:cNvPr>
            <p:cNvSpPr/>
            <p:nvPr/>
          </p:nvSpPr>
          <p:spPr bwMode="gray">
            <a:xfrm>
              <a:off x="2317908" y="8544705"/>
              <a:ext cx="7553896" cy="5228939"/>
            </a:xfrm>
            <a:custGeom>
              <a:avLst/>
              <a:gdLst>
                <a:gd name="connsiteX0" fmla="*/ 7311009 w 7553896"/>
                <a:gd name="connsiteY0" fmla="*/ 5228940 h 5228939"/>
                <a:gd name="connsiteX1" fmla="*/ 242983 w 7553896"/>
                <a:gd name="connsiteY1" fmla="*/ 5228940 h 5228939"/>
                <a:gd name="connsiteX2" fmla="*/ 0 w 7553896"/>
                <a:gd name="connsiteY2" fmla="*/ 4985957 h 5228939"/>
                <a:gd name="connsiteX3" fmla="*/ 0 w 7553896"/>
                <a:gd name="connsiteY3" fmla="*/ 242983 h 5228939"/>
                <a:gd name="connsiteX4" fmla="*/ 242983 w 7553896"/>
                <a:gd name="connsiteY4" fmla="*/ 0 h 5228939"/>
                <a:gd name="connsiteX5" fmla="*/ 7310914 w 7553896"/>
                <a:gd name="connsiteY5" fmla="*/ 0 h 5228939"/>
                <a:gd name="connsiteX6" fmla="*/ 7553896 w 7553896"/>
                <a:gd name="connsiteY6" fmla="*/ 242983 h 5228939"/>
                <a:gd name="connsiteX7" fmla="*/ 7553896 w 7553896"/>
                <a:gd name="connsiteY7" fmla="*/ 4985861 h 5228939"/>
                <a:gd name="connsiteX8" fmla="*/ 7311009 w 7553896"/>
                <a:gd name="connsiteY8" fmla="*/ 5228940 h 522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3896" h="5228939">
                  <a:moveTo>
                    <a:pt x="7311009" y="5228940"/>
                  </a:moveTo>
                  <a:lnTo>
                    <a:pt x="242983" y="5228940"/>
                  </a:lnTo>
                  <a:cubicBezTo>
                    <a:pt x="109347" y="5228940"/>
                    <a:pt x="0" y="5119593"/>
                    <a:pt x="0" y="4985957"/>
                  </a:cubicBezTo>
                  <a:lnTo>
                    <a:pt x="0" y="242983"/>
                  </a:lnTo>
                  <a:cubicBezTo>
                    <a:pt x="0" y="109347"/>
                    <a:pt x="109347" y="0"/>
                    <a:pt x="242983" y="0"/>
                  </a:cubicBezTo>
                  <a:lnTo>
                    <a:pt x="7310914" y="0"/>
                  </a:lnTo>
                  <a:cubicBezTo>
                    <a:pt x="7444550" y="0"/>
                    <a:pt x="7553896" y="109347"/>
                    <a:pt x="7553896" y="242983"/>
                  </a:cubicBezTo>
                  <a:lnTo>
                    <a:pt x="7553896" y="4985861"/>
                  </a:lnTo>
                  <a:cubicBezTo>
                    <a:pt x="7553992" y="5119593"/>
                    <a:pt x="7444645" y="5228940"/>
                    <a:pt x="7311009" y="5228940"/>
                  </a:cubicBez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sp>
          <p:nvSpPr>
            <p:cNvPr id="29" name="Freihandform: Form 28">
              <a:extLst>
                <a:ext uri="{FF2B5EF4-FFF2-40B4-BE49-F238E27FC236}">
                  <a16:creationId xmlns:a16="http://schemas.microsoft.com/office/drawing/2014/main" id="{B3614E7E-5724-D261-867A-ED27DC8A9A0D}"/>
                </a:ext>
              </a:extLst>
            </p:cNvPr>
            <p:cNvSpPr/>
            <p:nvPr/>
          </p:nvSpPr>
          <p:spPr bwMode="gray">
            <a:xfrm>
              <a:off x="2581275" y="11119694"/>
              <a:ext cx="79057" cy="79057"/>
            </a:xfrm>
            <a:custGeom>
              <a:avLst/>
              <a:gdLst>
                <a:gd name="connsiteX0" fmla="*/ 79057 w 79057"/>
                <a:gd name="connsiteY0" fmla="*/ 39529 h 79057"/>
                <a:gd name="connsiteX1" fmla="*/ 39529 w 79057"/>
                <a:gd name="connsiteY1" fmla="*/ 79057 h 79057"/>
                <a:gd name="connsiteX2" fmla="*/ 0 w 79057"/>
                <a:gd name="connsiteY2" fmla="*/ 39529 h 79057"/>
                <a:gd name="connsiteX3" fmla="*/ 39529 w 79057"/>
                <a:gd name="connsiteY3" fmla="*/ 0 h 79057"/>
                <a:gd name="connsiteX4" fmla="*/ 79057 w 79057"/>
                <a:gd name="connsiteY4" fmla="*/ 39529 h 79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 h="79057">
                  <a:moveTo>
                    <a:pt x="79057" y="39529"/>
                  </a:moveTo>
                  <a:cubicBezTo>
                    <a:pt x="79057" y="61360"/>
                    <a:pt x="61360" y="79057"/>
                    <a:pt x="39529" y="79057"/>
                  </a:cubicBezTo>
                  <a:cubicBezTo>
                    <a:pt x="17698" y="79057"/>
                    <a:pt x="0" y="61360"/>
                    <a:pt x="0" y="39529"/>
                  </a:cubicBezTo>
                  <a:cubicBezTo>
                    <a:pt x="0" y="17697"/>
                    <a:pt x="17698" y="0"/>
                    <a:pt x="39529" y="0"/>
                  </a:cubicBezTo>
                  <a:cubicBezTo>
                    <a:pt x="61360" y="0"/>
                    <a:pt x="79057" y="17698"/>
                    <a:pt x="79057" y="39529"/>
                  </a:cubicBezTo>
                  <a:close/>
                </a:path>
              </a:pathLst>
            </a:custGeom>
            <a:gradFill flip="none" rotWithShape="1">
              <a:gsLst>
                <a:gs pos="0">
                  <a:schemeClr val="tx1"/>
                </a:gs>
                <a:gs pos="100000">
                  <a:schemeClr val="tx1">
                    <a:alpha val="0"/>
                  </a:schemeClr>
                </a:gs>
              </a:gsLst>
              <a:path path="circle">
                <a:fillToRect l="50000" t="50000" r="50000" b="50000"/>
              </a:path>
              <a:tileRect/>
            </a:gradFill>
            <a:ln w="2164" cap="flat">
              <a:noFill/>
              <a:prstDash val="solid"/>
              <a:miter/>
            </a:ln>
          </p:spPr>
          <p:txBody>
            <a:bodyPr lIns="0" tIns="0" rIns="0" bIns="0" rtlCol="0" anchor="ctr"/>
            <a:lstStyle/>
            <a:p>
              <a:endParaRPr lang="de-DE" sz="1984" noProof="0" dirty="0"/>
            </a:p>
          </p:txBody>
        </p:sp>
        <p:sp>
          <p:nvSpPr>
            <p:cNvPr id="30" name="Freihandform: Form 29">
              <a:extLst>
                <a:ext uri="{FF2B5EF4-FFF2-40B4-BE49-F238E27FC236}">
                  <a16:creationId xmlns:a16="http://schemas.microsoft.com/office/drawing/2014/main" id="{5A88B114-8BC1-35CB-3F28-3E3A6EEEBD00}"/>
                </a:ext>
              </a:extLst>
            </p:cNvPr>
            <p:cNvSpPr/>
            <p:nvPr/>
          </p:nvSpPr>
          <p:spPr bwMode="gray">
            <a:xfrm>
              <a:off x="9437370" y="10999107"/>
              <a:ext cx="323659" cy="323659"/>
            </a:xfrm>
            <a:custGeom>
              <a:avLst/>
              <a:gdLst>
                <a:gd name="connsiteX0" fmla="*/ 323660 w 323659"/>
                <a:gd name="connsiteY0" fmla="*/ 161830 h 323659"/>
                <a:gd name="connsiteX1" fmla="*/ 161830 w 323659"/>
                <a:gd name="connsiteY1" fmla="*/ 323659 h 323659"/>
                <a:gd name="connsiteX2" fmla="*/ 0 w 323659"/>
                <a:gd name="connsiteY2" fmla="*/ 161830 h 323659"/>
                <a:gd name="connsiteX3" fmla="*/ 161830 w 323659"/>
                <a:gd name="connsiteY3" fmla="*/ 0 h 323659"/>
                <a:gd name="connsiteX4" fmla="*/ 323660 w 323659"/>
                <a:gd name="connsiteY4" fmla="*/ 161830 h 32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23659">
                  <a:moveTo>
                    <a:pt x="323660" y="161830"/>
                  </a:moveTo>
                  <a:cubicBezTo>
                    <a:pt x="323660" y="251206"/>
                    <a:pt x="251206" y="323659"/>
                    <a:pt x="161830" y="323659"/>
                  </a:cubicBezTo>
                  <a:cubicBezTo>
                    <a:pt x="72454" y="323659"/>
                    <a:pt x="0" y="251206"/>
                    <a:pt x="0" y="161830"/>
                  </a:cubicBezTo>
                  <a:cubicBezTo>
                    <a:pt x="0" y="72453"/>
                    <a:pt x="72454" y="0"/>
                    <a:pt x="161830" y="0"/>
                  </a:cubicBezTo>
                  <a:cubicBezTo>
                    <a:pt x="251206" y="0"/>
                    <a:pt x="323660" y="72454"/>
                    <a:pt x="323660" y="161830"/>
                  </a:cubicBezTo>
                  <a:close/>
                </a:path>
              </a:pathLst>
            </a:custGeom>
            <a:solidFill>
              <a:schemeClr val="tx1"/>
            </a:solidFill>
            <a:ln w="2418" cap="flat">
              <a:noFill/>
              <a:prstDash val="solid"/>
              <a:miter/>
            </a:ln>
          </p:spPr>
          <p:txBody>
            <a:bodyPr lIns="0" tIns="0" rIns="0" bIns="0" rtlCol="0" anchor="ctr"/>
            <a:lstStyle/>
            <a:p>
              <a:endParaRPr lang="de-DE" sz="1984" noProof="0" dirty="0"/>
            </a:p>
          </p:txBody>
        </p:sp>
        <p:sp>
          <p:nvSpPr>
            <p:cNvPr id="31" name="Freihandform: Form 30">
              <a:extLst>
                <a:ext uri="{FF2B5EF4-FFF2-40B4-BE49-F238E27FC236}">
                  <a16:creationId xmlns:a16="http://schemas.microsoft.com/office/drawing/2014/main" id="{C6908429-F064-36F5-82F0-05604AEF5D66}"/>
                </a:ext>
              </a:extLst>
            </p:cNvPr>
            <p:cNvSpPr/>
            <p:nvPr/>
          </p:nvSpPr>
          <p:spPr bwMode="gray">
            <a:xfrm>
              <a:off x="9463563" y="11025301"/>
              <a:ext cx="271272" cy="271272"/>
            </a:xfrm>
            <a:custGeom>
              <a:avLst/>
              <a:gdLst>
                <a:gd name="connsiteX0" fmla="*/ 271272 w 271272"/>
                <a:gd name="connsiteY0" fmla="*/ 135636 h 271272"/>
                <a:gd name="connsiteX1" fmla="*/ 135636 w 271272"/>
                <a:gd name="connsiteY1" fmla="*/ 271272 h 271272"/>
                <a:gd name="connsiteX2" fmla="*/ 0 w 271272"/>
                <a:gd name="connsiteY2" fmla="*/ 135636 h 271272"/>
                <a:gd name="connsiteX3" fmla="*/ 135636 w 271272"/>
                <a:gd name="connsiteY3" fmla="*/ 0 h 271272"/>
                <a:gd name="connsiteX4" fmla="*/ 271272 w 271272"/>
                <a:gd name="connsiteY4" fmla="*/ 135636 h 27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72" h="271272">
                  <a:moveTo>
                    <a:pt x="271272" y="135636"/>
                  </a:moveTo>
                  <a:cubicBezTo>
                    <a:pt x="271272" y="210546"/>
                    <a:pt x="210546" y="271272"/>
                    <a:pt x="135636" y="271272"/>
                  </a:cubicBezTo>
                  <a:cubicBezTo>
                    <a:pt x="60726" y="271272"/>
                    <a:pt x="0" y="210546"/>
                    <a:pt x="0" y="135636"/>
                  </a:cubicBezTo>
                  <a:cubicBezTo>
                    <a:pt x="0" y="60726"/>
                    <a:pt x="60727" y="0"/>
                    <a:pt x="135636" y="0"/>
                  </a:cubicBezTo>
                  <a:cubicBezTo>
                    <a:pt x="210546" y="0"/>
                    <a:pt x="271272" y="60726"/>
                    <a:pt x="271272" y="135636"/>
                  </a:cubicBezTo>
                  <a:close/>
                </a:path>
              </a:pathLst>
            </a:custGeom>
            <a:solidFill>
              <a:schemeClr val="bg1"/>
            </a:solidFill>
            <a:ln w="2028" cap="flat">
              <a:noFill/>
              <a:prstDash val="solid"/>
              <a:miter/>
            </a:ln>
          </p:spPr>
          <p:txBody>
            <a:bodyPr lIns="0" tIns="0" rIns="0" bIns="0" rtlCol="0" anchor="ctr"/>
            <a:lstStyle/>
            <a:p>
              <a:endParaRPr lang="de-DE" sz="1984" noProof="0" dirty="0"/>
            </a:p>
          </p:txBody>
        </p:sp>
      </p:grpSp>
      <p:sp>
        <p:nvSpPr>
          <p:cNvPr id="32" name="Bild 3">
            <a:extLst>
              <a:ext uri="{FF2B5EF4-FFF2-40B4-BE49-F238E27FC236}">
                <a16:creationId xmlns:a16="http://schemas.microsoft.com/office/drawing/2014/main" id="{A8354B6E-7C11-DA76-5031-E9A53BFAFF40}"/>
              </a:ext>
            </a:extLst>
          </p:cNvPr>
          <p:cNvSpPr>
            <a:spLocks noGrp="1" noChangeAspect="1"/>
          </p:cNvSpPr>
          <p:nvPr>
            <p:ph type="pic" sz="quarter" idx="16"/>
          </p:nvPr>
        </p:nvSpPr>
        <p:spPr bwMode="gray">
          <a:xfrm>
            <a:off x="7830072" y="4249219"/>
            <a:ext cx="2328480" cy="1749754"/>
          </a:xfrm>
          <a:solidFill>
            <a:schemeClr val="bg1">
              <a:lumMod val="85000"/>
            </a:schemeClr>
          </a:solidFill>
        </p:spPr>
        <p:txBody>
          <a:bodyPr vert="horz" lIns="144000" tIns="144000" rIns="144000" bIns="144000" rtlCol="0">
            <a:noAutofit/>
          </a:bodyPr>
          <a:lstStyle>
            <a:lvl1pPr marL="0" indent="0" algn="l">
              <a:buFont typeface="Arial" panose="020B0604020202020204" pitchFamily="34" charset="0"/>
              <a:buNone/>
              <a:defRPr lang="en-US"/>
            </a:lvl1pPr>
          </a:lstStyle>
          <a:p>
            <a:pPr marL="283474" lvl="0" indent="-283474"/>
            <a:r>
              <a:rPr lang="en-US" noProof="0"/>
              <a:t>Click icon to add picture</a:t>
            </a:r>
            <a:endParaRPr lang="de-DE" noProof="0" dirty="0"/>
          </a:p>
        </p:txBody>
      </p:sp>
      <p:grpSp>
        <p:nvGrpSpPr>
          <p:cNvPr id="33" name="iPhone">
            <a:extLst>
              <a:ext uri="{FF2B5EF4-FFF2-40B4-BE49-F238E27FC236}">
                <a16:creationId xmlns:a16="http://schemas.microsoft.com/office/drawing/2014/main" id="{F8ABD6AC-65B7-9D26-DC7E-CC80E05F9893}"/>
              </a:ext>
            </a:extLst>
          </p:cNvPr>
          <p:cNvGrpSpPr>
            <a:grpSpLocks noChangeAspect="1"/>
          </p:cNvGrpSpPr>
          <p:nvPr userDrawn="1"/>
        </p:nvGrpSpPr>
        <p:grpSpPr bwMode="gray">
          <a:xfrm>
            <a:off x="10710352" y="4644596"/>
            <a:ext cx="704207" cy="1454979"/>
            <a:chOff x="12760032" y="1127"/>
            <a:chExt cx="3317936" cy="6856786"/>
          </a:xfrm>
          <a:effectLst/>
        </p:grpSpPr>
        <p:sp>
          <p:nvSpPr>
            <p:cNvPr id="34" name="Freihandform: Form 33">
              <a:extLst>
                <a:ext uri="{FF2B5EF4-FFF2-40B4-BE49-F238E27FC236}">
                  <a16:creationId xmlns:a16="http://schemas.microsoft.com/office/drawing/2014/main" id="{6E05A315-217F-B569-4BA0-1030469C854F}"/>
                </a:ext>
              </a:extLst>
            </p:cNvPr>
            <p:cNvSpPr/>
            <p:nvPr/>
          </p:nvSpPr>
          <p:spPr bwMode="gray">
            <a:xfrm>
              <a:off x="12784655" y="1127"/>
              <a:ext cx="3268604" cy="6856786"/>
            </a:xfrm>
            <a:custGeom>
              <a:avLst/>
              <a:gdLst>
                <a:gd name="connsiteX0" fmla="*/ 2826260 w 3268604"/>
                <a:gd name="connsiteY0" fmla="*/ 6856786 h 6856786"/>
                <a:gd name="connsiteX1" fmla="*/ 442345 w 3268604"/>
                <a:gd name="connsiteY1" fmla="*/ 6856786 h 6856786"/>
                <a:gd name="connsiteX2" fmla="*/ 0 w 3268604"/>
                <a:gd name="connsiteY2" fmla="*/ 6414441 h 6856786"/>
                <a:gd name="connsiteX3" fmla="*/ 0 w 3268604"/>
                <a:gd name="connsiteY3" fmla="*/ 442345 h 6856786"/>
                <a:gd name="connsiteX4" fmla="*/ 442345 w 3268604"/>
                <a:gd name="connsiteY4" fmla="*/ 0 h 6856786"/>
                <a:gd name="connsiteX5" fmla="*/ 2826260 w 3268604"/>
                <a:gd name="connsiteY5" fmla="*/ 0 h 6856786"/>
                <a:gd name="connsiteX6" fmla="*/ 3268605 w 3268604"/>
                <a:gd name="connsiteY6" fmla="*/ 442345 h 6856786"/>
                <a:gd name="connsiteX7" fmla="*/ 3268605 w 3268604"/>
                <a:gd name="connsiteY7" fmla="*/ 6414441 h 6856786"/>
                <a:gd name="connsiteX8" fmla="*/ 2826260 w 3268604"/>
                <a:gd name="connsiteY8" fmla="*/ 6856786 h 685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8604" h="6856786">
                  <a:moveTo>
                    <a:pt x="2826260" y="6856786"/>
                  </a:moveTo>
                  <a:lnTo>
                    <a:pt x="442345" y="6856786"/>
                  </a:lnTo>
                  <a:cubicBezTo>
                    <a:pt x="199064" y="6856786"/>
                    <a:pt x="0" y="6657723"/>
                    <a:pt x="0" y="6414441"/>
                  </a:cubicBezTo>
                  <a:lnTo>
                    <a:pt x="0" y="442345"/>
                  </a:lnTo>
                  <a:cubicBezTo>
                    <a:pt x="0" y="199064"/>
                    <a:pt x="199064" y="0"/>
                    <a:pt x="442345" y="0"/>
                  </a:cubicBezTo>
                  <a:lnTo>
                    <a:pt x="2826260" y="0"/>
                  </a:lnTo>
                  <a:cubicBezTo>
                    <a:pt x="3069541" y="0"/>
                    <a:pt x="3268605" y="199064"/>
                    <a:pt x="3268605" y="442345"/>
                  </a:cubicBezTo>
                  <a:lnTo>
                    <a:pt x="3268605" y="6414441"/>
                  </a:lnTo>
                  <a:cubicBezTo>
                    <a:pt x="3268692" y="6657723"/>
                    <a:pt x="3069628" y="6856786"/>
                    <a:pt x="2826260" y="6856786"/>
                  </a:cubicBez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35" name="Freihandform: Form 34">
              <a:extLst>
                <a:ext uri="{FF2B5EF4-FFF2-40B4-BE49-F238E27FC236}">
                  <a16:creationId xmlns:a16="http://schemas.microsoft.com/office/drawing/2014/main" id="{009EC199-7A2E-161D-DEA7-B9C74EF0F74E}"/>
                </a:ext>
              </a:extLst>
            </p:cNvPr>
            <p:cNvSpPr/>
            <p:nvPr/>
          </p:nvSpPr>
          <p:spPr bwMode="gray">
            <a:xfrm>
              <a:off x="12833814" y="50286"/>
              <a:ext cx="3170373" cy="6758468"/>
            </a:xfrm>
            <a:custGeom>
              <a:avLst/>
              <a:gdLst>
                <a:gd name="connsiteX0" fmla="*/ 2764876 w 3170373"/>
                <a:gd name="connsiteY0" fmla="*/ 6758468 h 6758468"/>
                <a:gd name="connsiteX1" fmla="*/ 405498 w 3170373"/>
                <a:gd name="connsiteY1" fmla="*/ 6758468 h 6758468"/>
                <a:gd name="connsiteX2" fmla="*/ 0 w 3170373"/>
                <a:gd name="connsiteY2" fmla="*/ 6352970 h 6758468"/>
                <a:gd name="connsiteX3" fmla="*/ 0 w 3170373"/>
                <a:gd name="connsiteY3" fmla="*/ 405498 h 6758468"/>
                <a:gd name="connsiteX4" fmla="*/ 405498 w 3170373"/>
                <a:gd name="connsiteY4" fmla="*/ 0 h 6758468"/>
                <a:gd name="connsiteX5" fmla="*/ 2764876 w 3170373"/>
                <a:gd name="connsiteY5" fmla="*/ 0 h 6758468"/>
                <a:gd name="connsiteX6" fmla="*/ 3170373 w 3170373"/>
                <a:gd name="connsiteY6" fmla="*/ 405498 h 6758468"/>
                <a:gd name="connsiteX7" fmla="*/ 3170373 w 3170373"/>
                <a:gd name="connsiteY7" fmla="*/ 6352970 h 6758468"/>
                <a:gd name="connsiteX8" fmla="*/ 2764876 w 3170373"/>
                <a:gd name="connsiteY8" fmla="*/ 6758468 h 675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0373" h="6758468">
                  <a:moveTo>
                    <a:pt x="2764876" y="6758468"/>
                  </a:moveTo>
                  <a:lnTo>
                    <a:pt x="405498" y="6758468"/>
                  </a:lnTo>
                  <a:cubicBezTo>
                    <a:pt x="182504" y="6758468"/>
                    <a:pt x="0" y="6575964"/>
                    <a:pt x="0" y="6352970"/>
                  </a:cubicBezTo>
                  <a:lnTo>
                    <a:pt x="0" y="405498"/>
                  </a:lnTo>
                  <a:cubicBezTo>
                    <a:pt x="0" y="182504"/>
                    <a:pt x="182504" y="0"/>
                    <a:pt x="405498" y="0"/>
                  </a:cubicBezTo>
                  <a:lnTo>
                    <a:pt x="2764876" y="0"/>
                  </a:lnTo>
                  <a:cubicBezTo>
                    <a:pt x="2987869" y="0"/>
                    <a:pt x="3170373" y="182504"/>
                    <a:pt x="3170373" y="405498"/>
                  </a:cubicBezTo>
                  <a:lnTo>
                    <a:pt x="3170373" y="6352970"/>
                  </a:lnTo>
                  <a:cubicBezTo>
                    <a:pt x="3170373" y="6575964"/>
                    <a:pt x="2987869" y="6758468"/>
                    <a:pt x="2764876" y="6758468"/>
                  </a:cubicBezTo>
                  <a:close/>
                </a:path>
              </a:pathLst>
            </a:custGeom>
            <a:solidFill>
              <a:schemeClr val="tx1"/>
            </a:solidFill>
            <a:ln w="2214" cap="flat">
              <a:noFill/>
              <a:prstDash val="solid"/>
              <a:miter/>
            </a:ln>
          </p:spPr>
          <p:txBody>
            <a:bodyPr lIns="0" tIns="0" rIns="0" bIns="0" rtlCol="0" anchor="ctr"/>
            <a:lstStyle/>
            <a:p>
              <a:endParaRPr lang="de-DE" sz="1984" noProof="0" dirty="0"/>
            </a:p>
          </p:txBody>
        </p:sp>
        <p:sp>
          <p:nvSpPr>
            <p:cNvPr id="36" name="Freihandform: Form 35">
              <a:extLst>
                <a:ext uri="{FF2B5EF4-FFF2-40B4-BE49-F238E27FC236}">
                  <a16:creationId xmlns:a16="http://schemas.microsoft.com/office/drawing/2014/main" id="{7E8D2F64-C0D3-2D2B-CF32-506D2885DD80}"/>
                </a:ext>
              </a:extLst>
            </p:cNvPr>
            <p:cNvSpPr/>
            <p:nvPr/>
          </p:nvSpPr>
          <p:spPr bwMode="gray">
            <a:xfrm>
              <a:off x="12882973" y="99358"/>
              <a:ext cx="3072055" cy="6660236"/>
            </a:xfrm>
            <a:custGeom>
              <a:avLst/>
              <a:gdLst>
                <a:gd name="connsiteX0" fmla="*/ 2703405 w 3072055"/>
                <a:gd name="connsiteY0" fmla="*/ 6660237 h 6660236"/>
                <a:gd name="connsiteX1" fmla="*/ 368650 w 3072055"/>
                <a:gd name="connsiteY1" fmla="*/ 6660237 h 6660236"/>
                <a:gd name="connsiteX2" fmla="*/ 0 w 3072055"/>
                <a:gd name="connsiteY2" fmla="*/ 6291587 h 6660236"/>
                <a:gd name="connsiteX3" fmla="*/ 0 w 3072055"/>
                <a:gd name="connsiteY3" fmla="*/ 368650 h 6660236"/>
                <a:gd name="connsiteX4" fmla="*/ 368650 w 3072055"/>
                <a:gd name="connsiteY4" fmla="*/ 0 h 6660236"/>
                <a:gd name="connsiteX5" fmla="*/ 2703405 w 3072055"/>
                <a:gd name="connsiteY5" fmla="*/ 0 h 6660236"/>
                <a:gd name="connsiteX6" fmla="*/ 3072055 w 3072055"/>
                <a:gd name="connsiteY6" fmla="*/ 368650 h 6660236"/>
                <a:gd name="connsiteX7" fmla="*/ 3072055 w 3072055"/>
                <a:gd name="connsiteY7" fmla="*/ 6291587 h 6660236"/>
                <a:gd name="connsiteX8" fmla="*/ 2703405 w 3072055"/>
                <a:gd name="connsiteY8" fmla="*/ 6660237 h 666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55" h="6660236">
                  <a:moveTo>
                    <a:pt x="2703405" y="6660237"/>
                  </a:moveTo>
                  <a:lnTo>
                    <a:pt x="368650" y="6660237"/>
                  </a:lnTo>
                  <a:cubicBezTo>
                    <a:pt x="165858" y="6660237"/>
                    <a:pt x="0" y="6494379"/>
                    <a:pt x="0" y="6291587"/>
                  </a:cubicBezTo>
                  <a:lnTo>
                    <a:pt x="0" y="368650"/>
                  </a:lnTo>
                  <a:cubicBezTo>
                    <a:pt x="0" y="165858"/>
                    <a:pt x="165858" y="0"/>
                    <a:pt x="368650" y="0"/>
                  </a:cubicBezTo>
                  <a:lnTo>
                    <a:pt x="2703405" y="0"/>
                  </a:lnTo>
                  <a:cubicBezTo>
                    <a:pt x="2906197" y="0"/>
                    <a:pt x="3072055" y="165858"/>
                    <a:pt x="3072055" y="368650"/>
                  </a:cubicBezTo>
                  <a:lnTo>
                    <a:pt x="3072055" y="6291587"/>
                  </a:lnTo>
                  <a:cubicBezTo>
                    <a:pt x="3072055" y="6494379"/>
                    <a:pt x="2906197" y="6660237"/>
                    <a:pt x="2703405" y="6660237"/>
                  </a:cubicBezTo>
                  <a:close/>
                </a:path>
              </a:pathLst>
            </a:custGeom>
            <a:gradFill>
              <a:gsLst>
                <a:gs pos="0">
                  <a:schemeClr val="bg1">
                    <a:lumMod val="75000"/>
                    <a:alpha val="60000"/>
                  </a:schemeClr>
                </a:gs>
                <a:gs pos="100000">
                  <a:schemeClr val="bg1">
                    <a:lumMod val="75000"/>
                  </a:schemeClr>
                </a:gs>
              </a:gsLst>
              <a:lin ang="5400000" scaled="0"/>
            </a:gradFill>
            <a:ln w="2164"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e-DE" sz="1050" noProof="0" dirty="0">
                  <a:solidFill>
                    <a:schemeClr val="bg2"/>
                  </a:solidFill>
                </a:rPr>
                <a:t>Platz-halter-text</a:t>
              </a:r>
            </a:p>
          </p:txBody>
        </p:sp>
        <p:sp>
          <p:nvSpPr>
            <p:cNvPr id="37" name="Freihandform: Form 36">
              <a:extLst>
                <a:ext uri="{FF2B5EF4-FFF2-40B4-BE49-F238E27FC236}">
                  <a16:creationId xmlns:a16="http://schemas.microsoft.com/office/drawing/2014/main" id="{E1348ED9-993C-E5BC-78E5-037712EA5A5A}"/>
                </a:ext>
              </a:extLst>
            </p:cNvPr>
            <p:cNvSpPr/>
            <p:nvPr/>
          </p:nvSpPr>
          <p:spPr bwMode="gray">
            <a:xfrm>
              <a:off x="13477651" y="99358"/>
              <a:ext cx="1882699" cy="245708"/>
            </a:xfrm>
            <a:custGeom>
              <a:avLst/>
              <a:gdLst>
                <a:gd name="connsiteX0" fmla="*/ 1882699 w 1882699"/>
                <a:gd name="connsiteY0" fmla="*/ 0 h 245708"/>
                <a:gd name="connsiteX1" fmla="*/ 1809004 w 1882699"/>
                <a:gd name="connsiteY1" fmla="*/ 73695 h 245708"/>
                <a:gd name="connsiteX2" fmla="*/ 1636990 w 1882699"/>
                <a:gd name="connsiteY2" fmla="*/ 245709 h 245708"/>
                <a:gd name="connsiteX3" fmla="*/ 245709 w 1882699"/>
                <a:gd name="connsiteY3" fmla="*/ 245709 h 245708"/>
                <a:gd name="connsiteX4" fmla="*/ 73695 w 1882699"/>
                <a:gd name="connsiteY4" fmla="*/ 73695 h 245708"/>
                <a:gd name="connsiteX5" fmla="*/ 0 w 1882699"/>
                <a:gd name="connsiteY5" fmla="*/ 0 h 245708"/>
                <a:gd name="connsiteX6" fmla="*/ 1882699 w 1882699"/>
                <a:gd name="connsiteY6" fmla="*/ 0 h 2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2699" h="245708">
                  <a:moveTo>
                    <a:pt x="1882699" y="0"/>
                  </a:moveTo>
                  <a:cubicBezTo>
                    <a:pt x="1841950" y="0"/>
                    <a:pt x="1809004" y="33033"/>
                    <a:pt x="1809004" y="73695"/>
                  </a:cubicBezTo>
                  <a:cubicBezTo>
                    <a:pt x="1809004" y="168719"/>
                    <a:pt x="1732014" y="245709"/>
                    <a:pt x="1636990" y="245709"/>
                  </a:cubicBezTo>
                  <a:lnTo>
                    <a:pt x="245709" y="245709"/>
                  </a:lnTo>
                  <a:cubicBezTo>
                    <a:pt x="150685" y="245709"/>
                    <a:pt x="73695" y="168719"/>
                    <a:pt x="73695" y="73695"/>
                  </a:cubicBezTo>
                  <a:cubicBezTo>
                    <a:pt x="73695" y="32946"/>
                    <a:pt x="40663" y="0"/>
                    <a:pt x="0" y="0"/>
                  </a:cubicBezTo>
                  <a:lnTo>
                    <a:pt x="1882699" y="0"/>
                  </a:lnTo>
                  <a:close/>
                </a:path>
              </a:pathLst>
            </a:custGeom>
            <a:solidFill>
              <a:schemeClr val="tx1"/>
            </a:solidFill>
            <a:ln w="2164" cap="flat">
              <a:noFill/>
              <a:prstDash val="solid"/>
              <a:miter/>
            </a:ln>
          </p:spPr>
          <p:txBody>
            <a:bodyPr lIns="0" tIns="0" rIns="0" bIns="0" rtlCol="0" anchor="ctr"/>
            <a:lstStyle/>
            <a:p>
              <a:endParaRPr lang="de-DE" sz="1984" noProof="0" dirty="0"/>
            </a:p>
          </p:txBody>
        </p:sp>
        <p:sp>
          <p:nvSpPr>
            <p:cNvPr id="38" name="Freihandform: Form 37">
              <a:extLst>
                <a:ext uri="{FF2B5EF4-FFF2-40B4-BE49-F238E27FC236}">
                  <a16:creationId xmlns:a16="http://schemas.microsoft.com/office/drawing/2014/main" id="{7F38BC0E-BD4D-4B36-111A-E072210E0BA9}"/>
                </a:ext>
              </a:extLst>
            </p:cNvPr>
            <p:cNvSpPr/>
            <p:nvPr/>
          </p:nvSpPr>
          <p:spPr bwMode="gray">
            <a:xfrm>
              <a:off x="14234632" y="174787"/>
              <a:ext cx="368736" cy="36847"/>
            </a:xfrm>
            <a:custGeom>
              <a:avLst/>
              <a:gdLst>
                <a:gd name="connsiteX0" fmla="*/ 351917 w 368736"/>
                <a:gd name="connsiteY0" fmla="*/ 36848 h 36847"/>
                <a:gd name="connsiteX1" fmla="*/ 16820 w 368736"/>
                <a:gd name="connsiteY1" fmla="*/ 36848 h 36847"/>
                <a:gd name="connsiteX2" fmla="*/ 0 w 368736"/>
                <a:gd name="connsiteY2" fmla="*/ 20028 h 36847"/>
                <a:gd name="connsiteX3" fmla="*/ 0 w 368736"/>
                <a:gd name="connsiteY3" fmla="*/ 16820 h 36847"/>
                <a:gd name="connsiteX4" fmla="*/ 16820 w 368736"/>
                <a:gd name="connsiteY4" fmla="*/ 0 h 36847"/>
                <a:gd name="connsiteX5" fmla="*/ 351917 w 368736"/>
                <a:gd name="connsiteY5" fmla="*/ 0 h 36847"/>
                <a:gd name="connsiteX6" fmla="*/ 368737 w 368736"/>
                <a:gd name="connsiteY6" fmla="*/ 16820 h 36847"/>
                <a:gd name="connsiteX7" fmla="*/ 368737 w 368736"/>
                <a:gd name="connsiteY7" fmla="*/ 20114 h 36847"/>
                <a:gd name="connsiteX8" fmla="*/ 351917 w 368736"/>
                <a:gd name="connsiteY8" fmla="*/ 36848 h 3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736" h="36847">
                  <a:moveTo>
                    <a:pt x="351917" y="36848"/>
                  </a:moveTo>
                  <a:lnTo>
                    <a:pt x="16820" y="36848"/>
                  </a:lnTo>
                  <a:cubicBezTo>
                    <a:pt x="7630" y="36848"/>
                    <a:pt x="0" y="29305"/>
                    <a:pt x="0" y="20028"/>
                  </a:cubicBezTo>
                  <a:lnTo>
                    <a:pt x="0" y="16820"/>
                  </a:lnTo>
                  <a:cubicBezTo>
                    <a:pt x="0" y="7630"/>
                    <a:pt x="7543" y="0"/>
                    <a:pt x="16820" y="0"/>
                  </a:cubicBezTo>
                  <a:lnTo>
                    <a:pt x="351917" y="0"/>
                  </a:lnTo>
                  <a:cubicBezTo>
                    <a:pt x="361107" y="0"/>
                    <a:pt x="368737" y="7543"/>
                    <a:pt x="368737" y="16820"/>
                  </a:cubicBezTo>
                  <a:lnTo>
                    <a:pt x="368737" y="20114"/>
                  </a:lnTo>
                  <a:cubicBezTo>
                    <a:pt x="368650" y="29305"/>
                    <a:pt x="361107" y="36848"/>
                    <a:pt x="351917" y="36848"/>
                  </a:cubicBezTo>
                  <a:close/>
                </a:path>
              </a:pathLst>
            </a:custGeom>
            <a:solidFill>
              <a:schemeClr val="tx1">
                <a:lumMod val="65000"/>
                <a:lumOff val="35000"/>
              </a:schemeClr>
            </a:solidFill>
            <a:ln w="2164" cap="flat">
              <a:noFill/>
              <a:prstDash val="solid"/>
              <a:miter/>
            </a:ln>
          </p:spPr>
          <p:txBody>
            <a:bodyPr lIns="0" tIns="0" rIns="0" bIns="0" rtlCol="0" anchor="ctr"/>
            <a:lstStyle/>
            <a:p>
              <a:endParaRPr lang="de-DE" sz="1984" noProof="0" dirty="0"/>
            </a:p>
          </p:txBody>
        </p:sp>
        <p:sp>
          <p:nvSpPr>
            <p:cNvPr id="39" name="Freihandform: Form 38">
              <a:extLst>
                <a:ext uri="{FF2B5EF4-FFF2-40B4-BE49-F238E27FC236}">
                  <a16:creationId xmlns:a16="http://schemas.microsoft.com/office/drawing/2014/main" id="{219CAF5E-EB71-590A-1F3D-EB0AE7C5979F}"/>
                </a:ext>
              </a:extLst>
            </p:cNvPr>
            <p:cNvSpPr/>
            <p:nvPr/>
          </p:nvSpPr>
          <p:spPr bwMode="gray">
            <a:xfrm>
              <a:off x="16053346" y="1512488"/>
              <a:ext cx="24622" cy="737299"/>
            </a:xfrm>
            <a:custGeom>
              <a:avLst/>
              <a:gdLst>
                <a:gd name="connsiteX0" fmla="*/ 12311 w 24622"/>
                <a:gd name="connsiteY0" fmla="*/ 737300 h 737299"/>
                <a:gd name="connsiteX1" fmla="*/ 0 w 24622"/>
                <a:gd name="connsiteY1" fmla="*/ 737300 h 737299"/>
                <a:gd name="connsiteX2" fmla="*/ 0 w 24622"/>
                <a:gd name="connsiteY2" fmla="*/ 0 h 737299"/>
                <a:gd name="connsiteX3" fmla="*/ 12311 w 24622"/>
                <a:gd name="connsiteY3" fmla="*/ 0 h 737299"/>
                <a:gd name="connsiteX4" fmla="*/ 24623 w 24622"/>
                <a:gd name="connsiteY4" fmla="*/ 12311 h 737299"/>
                <a:gd name="connsiteX5" fmla="*/ 24623 w 24622"/>
                <a:gd name="connsiteY5" fmla="*/ 724989 h 737299"/>
                <a:gd name="connsiteX6" fmla="*/ 12311 w 24622"/>
                <a:gd name="connsiteY6" fmla="*/ 737300 h 73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22" h="737299">
                  <a:moveTo>
                    <a:pt x="12311" y="737300"/>
                  </a:moveTo>
                  <a:lnTo>
                    <a:pt x="0" y="737300"/>
                  </a:lnTo>
                  <a:lnTo>
                    <a:pt x="0" y="0"/>
                  </a:lnTo>
                  <a:lnTo>
                    <a:pt x="12311" y="0"/>
                  </a:lnTo>
                  <a:cubicBezTo>
                    <a:pt x="19074" y="0"/>
                    <a:pt x="24623" y="5549"/>
                    <a:pt x="24623" y="12311"/>
                  </a:cubicBezTo>
                  <a:lnTo>
                    <a:pt x="24623" y="724989"/>
                  </a:lnTo>
                  <a:cubicBezTo>
                    <a:pt x="24536" y="731751"/>
                    <a:pt x="19074" y="737300"/>
                    <a:pt x="12311" y="737300"/>
                  </a:cubicBezTo>
                  <a:close/>
                </a:path>
              </a:pathLst>
            </a:custGeom>
            <a:solidFill>
              <a:schemeClr val="tx1"/>
            </a:solidFill>
            <a:ln w="2137" cap="flat">
              <a:noFill/>
              <a:prstDash val="solid"/>
              <a:miter/>
            </a:ln>
          </p:spPr>
          <p:txBody>
            <a:bodyPr lIns="0" tIns="0" rIns="0" bIns="0" rtlCol="0" anchor="ctr"/>
            <a:lstStyle/>
            <a:p>
              <a:endParaRPr lang="de-DE" sz="1984" noProof="0" dirty="0"/>
            </a:p>
          </p:txBody>
        </p:sp>
        <p:sp>
          <p:nvSpPr>
            <p:cNvPr id="40" name="Freihandform: Form 39">
              <a:extLst>
                <a:ext uri="{FF2B5EF4-FFF2-40B4-BE49-F238E27FC236}">
                  <a16:creationId xmlns:a16="http://schemas.microsoft.com/office/drawing/2014/main" id="{ED37A893-D2B2-B3CA-9D87-DED0D7970D4B}"/>
                </a:ext>
              </a:extLst>
            </p:cNvPr>
            <p:cNvSpPr/>
            <p:nvPr/>
          </p:nvSpPr>
          <p:spPr bwMode="gray">
            <a:xfrm>
              <a:off x="12760032" y="1307701"/>
              <a:ext cx="24622" cy="442345"/>
            </a:xfrm>
            <a:custGeom>
              <a:avLst/>
              <a:gdLst>
                <a:gd name="connsiteX0" fmla="*/ 12311 w 24622"/>
                <a:gd name="connsiteY0" fmla="*/ 0 h 442345"/>
                <a:gd name="connsiteX1" fmla="*/ 24623 w 24622"/>
                <a:gd name="connsiteY1" fmla="*/ 0 h 442345"/>
                <a:gd name="connsiteX2" fmla="*/ 24623 w 24622"/>
                <a:gd name="connsiteY2" fmla="*/ 442345 h 442345"/>
                <a:gd name="connsiteX3" fmla="*/ 12311 w 24622"/>
                <a:gd name="connsiteY3" fmla="*/ 442345 h 442345"/>
                <a:gd name="connsiteX4" fmla="*/ 0 w 24622"/>
                <a:gd name="connsiteY4" fmla="*/ 430034 h 442345"/>
                <a:gd name="connsiteX5" fmla="*/ 0 w 24622"/>
                <a:gd name="connsiteY5" fmla="*/ 12225 h 442345"/>
                <a:gd name="connsiteX6" fmla="*/ 12311 w 24622"/>
                <a:gd name="connsiteY6" fmla="*/ 0 h 44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22" h="442345">
                  <a:moveTo>
                    <a:pt x="12311" y="0"/>
                  </a:moveTo>
                  <a:lnTo>
                    <a:pt x="24623" y="0"/>
                  </a:lnTo>
                  <a:lnTo>
                    <a:pt x="24623" y="442345"/>
                  </a:lnTo>
                  <a:lnTo>
                    <a:pt x="12311" y="442345"/>
                  </a:lnTo>
                  <a:cubicBezTo>
                    <a:pt x="5549" y="442345"/>
                    <a:pt x="0" y="436797"/>
                    <a:pt x="0" y="430034"/>
                  </a:cubicBezTo>
                  <a:lnTo>
                    <a:pt x="0" y="12225"/>
                  </a:lnTo>
                  <a:cubicBezTo>
                    <a:pt x="87" y="5549"/>
                    <a:pt x="5549" y="0"/>
                    <a:pt x="12311" y="0"/>
                  </a:cubicBezTo>
                  <a:close/>
                </a:path>
              </a:pathLst>
            </a:custGeom>
            <a:solidFill>
              <a:schemeClr val="tx1"/>
            </a:solidFill>
            <a:ln w="1656" cap="flat">
              <a:noFill/>
              <a:prstDash val="solid"/>
              <a:miter/>
            </a:ln>
          </p:spPr>
          <p:txBody>
            <a:bodyPr lIns="0" tIns="0" rIns="0" bIns="0" rtlCol="0" anchor="ctr"/>
            <a:lstStyle/>
            <a:p>
              <a:endParaRPr lang="de-DE" sz="1984" noProof="0" dirty="0"/>
            </a:p>
          </p:txBody>
        </p:sp>
        <p:sp>
          <p:nvSpPr>
            <p:cNvPr id="41" name="Freihandform: Form 40">
              <a:extLst>
                <a:ext uri="{FF2B5EF4-FFF2-40B4-BE49-F238E27FC236}">
                  <a16:creationId xmlns:a16="http://schemas.microsoft.com/office/drawing/2014/main" id="{E6D2F3AE-449C-5BAE-CE8A-7C9A73AAF73F}"/>
                </a:ext>
              </a:extLst>
            </p:cNvPr>
            <p:cNvSpPr/>
            <p:nvPr/>
          </p:nvSpPr>
          <p:spPr bwMode="gray">
            <a:xfrm>
              <a:off x="12760032" y="859200"/>
              <a:ext cx="24622" cy="245795"/>
            </a:xfrm>
            <a:custGeom>
              <a:avLst/>
              <a:gdLst>
                <a:gd name="connsiteX0" fmla="*/ 12311 w 24622"/>
                <a:gd name="connsiteY0" fmla="*/ 0 h 245795"/>
                <a:gd name="connsiteX1" fmla="*/ 24623 w 24622"/>
                <a:gd name="connsiteY1" fmla="*/ 0 h 245795"/>
                <a:gd name="connsiteX2" fmla="*/ 24623 w 24622"/>
                <a:gd name="connsiteY2" fmla="*/ 245796 h 245795"/>
                <a:gd name="connsiteX3" fmla="*/ 12311 w 24622"/>
                <a:gd name="connsiteY3" fmla="*/ 245796 h 245795"/>
                <a:gd name="connsiteX4" fmla="*/ 0 w 24622"/>
                <a:gd name="connsiteY4" fmla="*/ 233484 h 245795"/>
                <a:gd name="connsiteX5" fmla="*/ 0 w 24622"/>
                <a:gd name="connsiteY5" fmla="*/ 12311 h 245795"/>
                <a:gd name="connsiteX6" fmla="*/ 12311 w 24622"/>
                <a:gd name="connsiteY6" fmla="*/ 0 h 24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22" h="245795">
                  <a:moveTo>
                    <a:pt x="12311" y="0"/>
                  </a:moveTo>
                  <a:lnTo>
                    <a:pt x="24623" y="0"/>
                  </a:lnTo>
                  <a:lnTo>
                    <a:pt x="24623" y="245796"/>
                  </a:lnTo>
                  <a:lnTo>
                    <a:pt x="12311" y="245796"/>
                  </a:lnTo>
                  <a:cubicBezTo>
                    <a:pt x="5549" y="245796"/>
                    <a:pt x="0" y="240247"/>
                    <a:pt x="0" y="233484"/>
                  </a:cubicBezTo>
                  <a:lnTo>
                    <a:pt x="0" y="12311"/>
                  </a:lnTo>
                  <a:cubicBezTo>
                    <a:pt x="87" y="5549"/>
                    <a:pt x="5549" y="0"/>
                    <a:pt x="12311" y="0"/>
                  </a:cubicBezTo>
                  <a:close/>
                </a:path>
              </a:pathLst>
            </a:custGeom>
            <a:solidFill>
              <a:schemeClr val="tx1"/>
            </a:solidFill>
            <a:ln w="1234" cap="flat">
              <a:noFill/>
              <a:prstDash val="solid"/>
              <a:miter/>
            </a:ln>
          </p:spPr>
          <p:txBody>
            <a:bodyPr lIns="0" tIns="0" rIns="0" bIns="0" rtlCol="0" anchor="ctr"/>
            <a:lstStyle/>
            <a:p>
              <a:endParaRPr lang="de-DE" sz="1984" noProof="0" dirty="0"/>
            </a:p>
          </p:txBody>
        </p:sp>
        <p:sp>
          <p:nvSpPr>
            <p:cNvPr id="42" name="Freihandform: Form 41">
              <a:extLst>
                <a:ext uri="{FF2B5EF4-FFF2-40B4-BE49-F238E27FC236}">
                  <a16:creationId xmlns:a16="http://schemas.microsoft.com/office/drawing/2014/main" id="{8CCE9B21-8BA3-ECB2-1939-33C5A84071A7}"/>
                </a:ext>
              </a:extLst>
            </p:cNvPr>
            <p:cNvSpPr/>
            <p:nvPr/>
          </p:nvSpPr>
          <p:spPr bwMode="gray">
            <a:xfrm>
              <a:off x="12760032" y="1905154"/>
              <a:ext cx="24622" cy="442345"/>
            </a:xfrm>
            <a:custGeom>
              <a:avLst/>
              <a:gdLst>
                <a:gd name="connsiteX0" fmla="*/ 12311 w 24622"/>
                <a:gd name="connsiteY0" fmla="*/ 0 h 442345"/>
                <a:gd name="connsiteX1" fmla="*/ 24623 w 24622"/>
                <a:gd name="connsiteY1" fmla="*/ 0 h 442345"/>
                <a:gd name="connsiteX2" fmla="*/ 24623 w 24622"/>
                <a:gd name="connsiteY2" fmla="*/ 442345 h 442345"/>
                <a:gd name="connsiteX3" fmla="*/ 12311 w 24622"/>
                <a:gd name="connsiteY3" fmla="*/ 442345 h 442345"/>
                <a:gd name="connsiteX4" fmla="*/ 0 w 24622"/>
                <a:gd name="connsiteY4" fmla="*/ 430034 h 442345"/>
                <a:gd name="connsiteX5" fmla="*/ 0 w 24622"/>
                <a:gd name="connsiteY5" fmla="*/ 12225 h 442345"/>
                <a:gd name="connsiteX6" fmla="*/ 12311 w 24622"/>
                <a:gd name="connsiteY6" fmla="*/ 0 h 44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22" h="442345">
                  <a:moveTo>
                    <a:pt x="12311" y="0"/>
                  </a:moveTo>
                  <a:lnTo>
                    <a:pt x="24623" y="0"/>
                  </a:lnTo>
                  <a:lnTo>
                    <a:pt x="24623" y="442345"/>
                  </a:lnTo>
                  <a:lnTo>
                    <a:pt x="12311" y="442345"/>
                  </a:lnTo>
                  <a:cubicBezTo>
                    <a:pt x="5549" y="442345"/>
                    <a:pt x="0" y="436796"/>
                    <a:pt x="0" y="430034"/>
                  </a:cubicBezTo>
                  <a:lnTo>
                    <a:pt x="0" y="12225"/>
                  </a:lnTo>
                  <a:cubicBezTo>
                    <a:pt x="87" y="5549"/>
                    <a:pt x="5549" y="0"/>
                    <a:pt x="12311" y="0"/>
                  </a:cubicBezTo>
                  <a:close/>
                </a:path>
              </a:pathLst>
            </a:custGeom>
            <a:solidFill>
              <a:schemeClr val="tx1"/>
            </a:solidFill>
            <a:ln w="1656" cap="flat">
              <a:noFill/>
              <a:prstDash val="solid"/>
              <a:miter/>
            </a:ln>
          </p:spPr>
          <p:txBody>
            <a:bodyPr lIns="0" tIns="0" rIns="0" bIns="0" rtlCol="0" anchor="ctr"/>
            <a:lstStyle/>
            <a:p>
              <a:endParaRPr lang="de-DE" sz="1984" noProof="0" dirty="0"/>
            </a:p>
          </p:txBody>
        </p:sp>
        <p:sp>
          <p:nvSpPr>
            <p:cNvPr id="43" name="Freihandform: Form 42">
              <a:extLst>
                <a:ext uri="{FF2B5EF4-FFF2-40B4-BE49-F238E27FC236}">
                  <a16:creationId xmlns:a16="http://schemas.microsoft.com/office/drawing/2014/main" id="{FF0671C0-A479-578E-5F1E-5787CB6DD9EA}"/>
                </a:ext>
              </a:extLst>
            </p:cNvPr>
            <p:cNvSpPr/>
            <p:nvPr/>
          </p:nvSpPr>
          <p:spPr bwMode="gray">
            <a:xfrm>
              <a:off x="14738361" y="156407"/>
              <a:ext cx="73695" cy="73695"/>
            </a:xfrm>
            <a:custGeom>
              <a:avLst/>
              <a:gdLst>
                <a:gd name="connsiteX0" fmla="*/ 73695 w 73695"/>
                <a:gd name="connsiteY0" fmla="*/ 36848 h 73695"/>
                <a:gd name="connsiteX1" fmla="*/ 36848 w 73695"/>
                <a:gd name="connsiteY1" fmla="*/ 73695 h 73695"/>
                <a:gd name="connsiteX2" fmla="*/ 0 w 73695"/>
                <a:gd name="connsiteY2" fmla="*/ 36848 h 73695"/>
                <a:gd name="connsiteX3" fmla="*/ 36848 w 73695"/>
                <a:gd name="connsiteY3" fmla="*/ 0 h 73695"/>
                <a:gd name="connsiteX4" fmla="*/ 73695 w 73695"/>
                <a:gd name="connsiteY4" fmla="*/ 36848 h 73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95" h="73695">
                  <a:moveTo>
                    <a:pt x="73695" y="36848"/>
                  </a:moveTo>
                  <a:cubicBezTo>
                    <a:pt x="73695" y="57198"/>
                    <a:pt x="57198" y="73695"/>
                    <a:pt x="36848" y="73695"/>
                  </a:cubicBezTo>
                  <a:cubicBezTo>
                    <a:pt x="16497" y="73695"/>
                    <a:pt x="0" y="57198"/>
                    <a:pt x="0" y="36848"/>
                  </a:cubicBezTo>
                  <a:cubicBezTo>
                    <a:pt x="0" y="16497"/>
                    <a:pt x="16497" y="0"/>
                    <a:pt x="36848" y="0"/>
                  </a:cubicBezTo>
                  <a:cubicBezTo>
                    <a:pt x="57198" y="0"/>
                    <a:pt x="73695" y="16497"/>
                    <a:pt x="73695" y="36848"/>
                  </a:cubicBezTo>
                  <a:close/>
                </a:path>
              </a:pathLst>
            </a:custGeom>
            <a:gradFill flip="none" rotWithShape="1">
              <a:gsLst>
                <a:gs pos="0">
                  <a:schemeClr val="bg1"/>
                </a:gs>
                <a:gs pos="100000">
                  <a:schemeClr val="bg1">
                    <a:alpha val="0"/>
                  </a:schemeClr>
                </a:gs>
              </a:gsLst>
              <a:path path="circle">
                <a:fillToRect l="50000" t="50000" r="50000" b="50000"/>
              </a:path>
              <a:tileRect/>
            </a:gradFill>
            <a:ln w="2164" cap="flat">
              <a:noFill/>
              <a:prstDash val="solid"/>
              <a:miter/>
            </a:ln>
          </p:spPr>
          <p:txBody>
            <a:bodyPr lIns="0" tIns="0" rIns="0" bIns="0" rtlCol="0" anchor="ctr"/>
            <a:lstStyle/>
            <a:p>
              <a:endParaRPr lang="de-DE" sz="1984" noProof="0" dirty="0"/>
            </a:p>
          </p:txBody>
        </p:sp>
      </p:grpSp>
      <p:sp>
        <p:nvSpPr>
          <p:cNvPr id="44" name="Bild 4">
            <a:extLst>
              <a:ext uri="{FF2B5EF4-FFF2-40B4-BE49-F238E27FC236}">
                <a16:creationId xmlns:a16="http://schemas.microsoft.com/office/drawing/2014/main" id="{5D2D573F-F3F8-D6E0-F088-DF045029C70C}"/>
              </a:ext>
            </a:extLst>
          </p:cNvPr>
          <p:cNvSpPr>
            <a:spLocks noGrp="1" noChangeAspect="1"/>
          </p:cNvSpPr>
          <p:nvPr>
            <p:ph type="pic" sz="quarter" idx="17"/>
          </p:nvPr>
        </p:nvSpPr>
        <p:spPr bwMode="gray">
          <a:xfrm>
            <a:off x="10736444" y="4665440"/>
            <a:ext cx="652021" cy="1413272"/>
          </a:xfrm>
          <a:custGeom>
            <a:avLst/>
            <a:gdLst>
              <a:gd name="connsiteX0" fmla="*/ 74517 w 620972"/>
              <a:gd name="connsiteY0" fmla="*/ 0 h 1346270"/>
              <a:gd name="connsiteX1" fmla="*/ 120206 w 620972"/>
              <a:gd name="connsiteY1" fmla="*/ 0 h 1346270"/>
              <a:gd name="connsiteX2" fmla="*/ 135102 w 620972"/>
              <a:gd name="connsiteY2" fmla="*/ 14897 h 1346270"/>
              <a:gd name="connsiteX3" fmla="*/ 169873 w 620972"/>
              <a:gd name="connsiteY3" fmla="*/ 49666 h 1346270"/>
              <a:gd name="connsiteX4" fmla="*/ 451100 w 620972"/>
              <a:gd name="connsiteY4" fmla="*/ 49666 h 1346270"/>
              <a:gd name="connsiteX5" fmla="*/ 485871 w 620972"/>
              <a:gd name="connsiteY5" fmla="*/ 14897 h 1346270"/>
              <a:gd name="connsiteX6" fmla="*/ 500767 w 620972"/>
              <a:gd name="connsiteY6" fmla="*/ 0 h 1346270"/>
              <a:gd name="connsiteX7" fmla="*/ 546455 w 620972"/>
              <a:gd name="connsiteY7" fmla="*/ 0 h 1346270"/>
              <a:gd name="connsiteX8" fmla="*/ 620972 w 620972"/>
              <a:gd name="connsiteY8" fmla="*/ 74517 h 1346270"/>
              <a:gd name="connsiteX9" fmla="*/ 620972 w 620972"/>
              <a:gd name="connsiteY9" fmla="*/ 1271753 h 1346270"/>
              <a:gd name="connsiteX10" fmla="*/ 546455 w 620972"/>
              <a:gd name="connsiteY10" fmla="*/ 1346270 h 1346270"/>
              <a:gd name="connsiteX11" fmla="*/ 74517 w 620972"/>
              <a:gd name="connsiteY11" fmla="*/ 1346270 h 1346270"/>
              <a:gd name="connsiteX12" fmla="*/ 0 w 620972"/>
              <a:gd name="connsiteY12" fmla="*/ 1271753 h 1346270"/>
              <a:gd name="connsiteX13" fmla="*/ 0 w 620972"/>
              <a:gd name="connsiteY13" fmla="*/ 74517 h 1346270"/>
              <a:gd name="connsiteX14" fmla="*/ 74517 w 620972"/>
              <a:gd name="connsiteY14" fmla="*/ 0 h 134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0972" h="1346270">
                <a:moveTo>
                  <a:pt x="74517" y="0"/>
                </a:moveTo>
                <a:lnTo>
                  <a:pt x="120206" y="0"/>
                </a:lnTo>
                <a:cubicBezTo>
                  <a:pt x="128425" y="0"/>
                  <a:pt x="135102" y="6660"/>
                  <a:pt x="135102" y="14897"/>
                </a:cubicBezTo>
                <a:cubicBezTo>
                  <a:pt x="135102" y="34104"/>
                  <a:pt x="150665" y="49666"/>
                  <a:pt x="169873" y="49666"/>
                </a:cubicBezTo>
                <a:lnTo>
                  <a:pt x="451100" y="49666"/>
                </a:lnTo>
                <a:cubicBezTo>
                  <a:pt x="470308" y="49666"/>
                  <a:pt x="485871" y="34104"/>
                  <a:pt x="485871" y="14897"/>
                </a:cubicBezTo>
                <a:cubicBezTo>
                  <a:pt x="485871" y="6677"/>
                  <a:pt x="492530" y="0"/>
                  <a:pt x="500767" y="0"/>
                </a:cubicBezTo>
                <a:lnTo>
                  <a:pt x="546455" y="0"/>
                </a:lnTo>
                <a:cubicBezTo>
                  <a:pt x="587446" y="0"/>
                  <a:pt x="620972" y="33526"/>
                  <a:pt x="620972" y="74517"/>
                </a:cubicBezTo>
                <a:lnTo>
                  <a:pt x="620972" y="1271753"/>
                </a:lnTo>
                <a:cubicBezTo>
                  <a:pt x="620972" y="1312745"/>
                  <a:pt x="587446" y="1346270"/>
                  <a:pt x="546455" y="1346270"/>
                </a:cubicBezTo>
                <a:lnTo>
                  <a:pt x="74517" y="1346270"/>
                </a:lnTo>
                <a:cubicBezTo>
                  <a:pt x="33526" y="1346270"/>
                  <a:pt x="0" y="1312745"/>
                  <a:pt x="0" y="1271753"/>
                </a:cubicBezTo>
                <a:lnTo>
                  <a:pt x="0" y="74517"/>
                </a:lnTo>
                <a:cubicBezTo>
                  <a:pt x="0" y="33526"/>
                  <a:pt x="33526" y="0"/>
                  <a:pt x="74517" y="0"/>
                </a:cubicBezTo>
                <a:close/>
              </a:path>
            </a:pathLst>
          </a:custGeom>
          <a:solidFill>
            <a:schemeClr val="bg1">
              <a:lumMod val="85000"/>
            </a:schemeClr>
          </a:solidFill>
        </p:spPr>
        <p:txBody>
          <a:bodyPr vert="horz" wrap="square" lIns="144000" tIns="144000" rIns="144000" bIns="144000" rtlCol="0">
            <a:noAutofit/>
          </a:bodyPr>
          <a:lstStyle>
            <a:lvl1pPr marL="0" indent="0" algn="l">
              <a:buNone/>
              <a:defRPr lang="en-US"/>
            </a:lvl1pPr>
          </a:lstStyle>
          <a:p>
            <a:pPr marL="283474" lvl="0" indent="-283474"/>
            <a:r>
              <a:rPr lang="en-US" noProof="0"/>
              <a:t>Click icon to add picture</a:t>
            </a:r>
            <a:endParaRPr lang="de-DE" noProof="0" dirty="0"/>
          </a:p>
        </p:txBody>
      </p:sp>
    </p:spTree>
    <p:extLst>
      <p:ext uri="{BB962C8B-B14F-4D97-AF65-F5344CB8AC3E}">
        <p14:creationId xmlns:p14="http://schemas.microsoft.com/office/powerpoint/2010/main" val="3007027769"/>
      </p:ext>
    </p:extLst>
  </p:cSld>
  <p:clrMapOvr>
    <a:masterClrMapping/>
  </p:clrMapOvr>
  <p:hf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ckUp 2">
    <p:spTree>
      <p:nvGrpSpPr>
        <p:cNvPr id="1" name=""/>
        <p:cNvGrpSpPr/>
        <p:nvPr/>
      </p:nvGrpSpPr>
      <p:grpSpPr>
        <a:xfrm>
          <a:off x="0" y="0"/>
          <a:ext cx="0" cy="0"/>
          <a:chOff x="0" y="0"/>
          <a:chExt cx="0" cy="0"/>
        </a:xfrm>
      </p:grpSpPr>
      <p:cxnSp>
        <p:nvCxnSpPr>
          <p:cNvPr id="76" name="Linie 1">
            <a:extLst>
              <a:ext uri="{FF2B5EF4-FFF2-40B4-BE49-F238E27FC236}">
                <a16:creationId xmlns:a16="http://schemas.microsoft.com/office/drawing/2014/main" id="{D7DC3E42-37C3-84FD-FAAA-739CD7EA64CA}"/>
              </a:ext>
            </a:extLst>
          </p:cNvPr>
          <p:cNvCxnSpPr>
            <a:cxnSpLocks/>
          </p:cNvCxnSpPr>
          <p:nvPr userDrawn="1"/>
        </p:nvCxnSpPr>
        <p:spPr bwMode="gray">
          <a:xfrm flipV="1">
            <a:off x="0" y="6089143"/>
            <a:ext cx="6984000" cy="10432"/>
          </a:xfrm>
          <a:prstGeom prst="line">
            <a:avLst/>
          </a:prstGeom>
          <a:ln w="254000">
            <a:gradFill>
              <a:gsLst>
                <a:gs pos="0">
                  <a:schemeClr val="bg1">
                    <a:lumMod val="75000"/>
                    <a:alpha val="0"/>
                  </a:schemeClr>
                </a:gs>
                <a:gs pos="50000">
                  <a:schemeClr val="bg1">
                    <a:lumMod val="75000"/>
                  </a:schemeClr>
                </a:gs>
                <a:gs pos="100000">
                  <a:schemeClr val="bg1">
                    <a:lumMod val="95000"/>
                    <a:alpha val="0"/>
                  </a:schemeClr>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77" name="Linie 2">
            <a:extLst>
              <a:ext uri="{FF2B5EF4-FFF2-40B4-BE49-F238E27FC236}">
                <a16:creationId xmlns:a16="http://schemas.microsoft.com/office/drawing/2014/main" id="{271F2E38-7525-6E69-DB86-674AED004E66}"/>
              </a:ext>
            </a:extLst>
          </p:cNvPr>
          <p:cNvCxnSpPr>
            <a:cxnSpLocks/>
          </p:cNvCxnSpPr>
          <p:nvPr userDrawn="1"/>
        </p:nvCxnSpPr>
        <p:spPr bwMode="gray">
          <a:xfrm>
            <a:off x="0" y="6099575"/>
            <a:ext cx="6984000" cy="26"/>
          </a:xfrm>
          <a:prstGeom prst="line">
            <a:avLst/>
          </a:prstGeom>
          <a:ln w="254000">
            <a:gradFill>
              <a:gsLst>
                <a:gs pos="75000">
                  <a:srgbClr val="FFFFFF">
                    <a:alpha val="0"/>
                  </a:srgbClr>
                </a:gs>
                <a:gs pos="25000">
                  <a:srgbClr val="FFFFFF">
                    <a:alpha val="0"/>
                  </a:srgbClr>
                </a:gs>
                <a:gs pos="0">
                  <a:schemeClr val="bg1"/>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3ED3C02-C333-CEDA-E07E-4478CDFC6355}"/>
              </a:ext>
            </a:extLst>
          </p:cNvPr>
          <p:cNvSpPr>
            <a:spLocks noGrp="1"/>
          </p:cNvSpPr>
          <p:nvPr>
            <p:ph type="title"/>
          </p:nvPr>
        </p:nvSpPr>
        <p:spPr bwMode="gray"/>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559318CB-83E3-F25F-33DC-44DDBEBEFFB1}"/>
              </a:ext>
            </a:extLst>
          </p:cNvPr>
          <p:cNvSpPr>
            <a:spLocks noGrp="1"/>
          </p:cNvSpPr>
          <p:nvPr>
            <p:ph type="dt" sz="half" idx="10"/>
          </p:nvPr>
        </p:nvSpPr>
        <p:spPr bwMode="gray"/>
        <p:txBody>
          <a:bodyPr/>
          <a:lstStyle/>
          <a:p>
            <a:fld id="{0C01F456-A14C-497E-84A2-4BD9D6DF7050}" type="datetime1">
              <a:rPr lang="de-DE" smtClean="0"/>
              <a:t>30.11.2024</a:t>
            </a:fld>
            <a:endParaRPr lang="de-DE" dirty="0"/>
          </a:p>
        </p:txBody>
      </p:sp>
      <p:sp>
        <p:nvSpPr>
          <p:cNvPr id="4" name="Fußzeilenplatzhalter 3">
            <a:extLst>
              <a:ext uri="{FF2B5EF4-FFF2-40B4-BE49-F238E27FC236}">
                <a16:creationId xmlns:a16="http://schemas.microsoft.com/office/drawing/2014/main" id="{7EC32B3B-6EF9-FF7F-CD46-7B4AAC5A594A}"/>
              </a:ext>
            </a:extLst>
          </p:cNvPr>
          <p:cNvSpPr>
            <a:spLocks noGrp="1"/>
          </p:cNvSpPr>
          <p:nvPr>
            <p:ph type="ftr" sz="quarter" idx="11"/>
          </p:nvPr>
        </p:nvSpPr>
        <p:spPr bwMode="gray"/>
        <p:txBody>
          <a:bodyPr/>
          <a:lstStyle/>
          <a:p>
            <a:r>
              <a:rPr lang="de-DE" dirty="0"/>
              <a:t>Unternehmenspräsentation</a:t>
            </a:r>
          </a:p>
        </p:txBody>
      </p:sp>
      <p:sp>
        <p:nvSpPr>
          <p:cNvPr id="5" name="Foliennummernplatzhalter 4">
            <a:extLst>
              <a:ext uri="{FF2B5EF4-FFF2-40B4-BE49-F238E27FC236}">
                <a16:creationId xmlns:a16="http://schemas.microsoft.com/office/drawing/2014/main" id="{15BEB506-D959-87F7-AE39-613AA81A7D00}"/>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
        <p:nvSpPr>
          <p:cNvPr id="60" name="Inhaltsplatzhalter 9">
            <a:extLst>
              <a:ext uri="{FF2B5EF4-FFF2-40B4-BE49-F238E27FC236}">
                <a16:creationId xmlns:a16="http://schemas.microsoft.com/office/drawing/2014/main" id="{9E3501FB-C37B-0DE8-B5C9-268DA409FE2C}"/>
              </a:ext>
            </a:extLst>
          </p:cNvPr>
          <p:cNvSpPr>
            <a:spLocks noGrp="1"/>
          </p:cNvSpPr>
          <p:nvPr>
            <p:ph sz="quarter" idx="17"/>
          </p:nvPr>
        </p:nvSpPr>
        <p:spPr bwMode="gray">
          <a:xfrm>
            <a:off x="7536674" y="1844675"/>
            <a:ext cx="3960001"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grpSp>
        <p:nvGrpSpPr>
          <p:cNvPr id="61" name="iMac 27''">
            <a:extLst>
              <a:ext uri="{FF2B5EF4-FFF2-40B4-BE49-F238E27FC236}">
                <a16:creationId xmlns:a16="http://schemas.microsoft.com/office/drawing/2014/main" id="{AD34EC9E-82E1-5D63-5601-3CCB081977EE}"/>
              </a:ext>
            </a:extLst>
          </p:cNvPr>
          <p:cNvGrpSpPr>
            <a:grpSpLocks noChangeAspect="1"/>
          </p:cNvGrpSpPr>
          <p:nvPr userDrawn="1"/>
        </p:nvGrpSpPr>
        <p:grpSpPr bwMode="gray">
          <a:xfrm>
            <a:off x="800933" y="1659054"/>
            <a:ext cx="5517637" cy="4440521"/>
            <a:chOff x="3486052" y="1580400"/>
            <a:chExt cx="5254892" cy="4230000"/>
          </a:xfrm>
        </p:grpSpPr>
        <p:grpSp>
          <p:nvGrpSpPr>
            <p:cNvPr id="62" name="Fuß">
              <a:extLst>
                <a:ext uri="{FF2B5EF4-FFF2-40B4-BE49-F238E27FC236}">
                  <a16:creationId xmlns:a16="http://schemas.microsoft.com/office/drawing/2014/main" id="{6604E307-22EB-229F-516C-AB6A3E1ABAB3}"/>
                </a:ext>
              </a:extLst>
            </p:cNvPr>
            <p:cNvGrpSpPr>
              <a:grpSpLocks noChangeAspect="1"/>
            </p:cNvGrpSpPr>
            <p:nvPr/>
          </p:nvGrpSpPr>
          <p:grpSpPr bwMode="gray">
            <a:xfrm>
              <a:off x="5313780" y="4710855"/>
              <a:ext cx="1599384" cy="1099545"/>
              <a:chOff x="5313780" y="4710855"/>
              <a:chExt cx="1599384" cy="1099545"/>
            </a:xfrm>
          </p:grpSpPr>
          <p:sp>
            <p:nvSpPr>
              <p:cNvPr id="73" name="Freihandform: Form 72">
                <a:extLst>
                  <a:ext uri="{FF2B5EF4-FFF2-40B4-BE49-F238E27FC236}">
                    <a16:creationId xmlns:a16="http://schemas.microsoft.com/office/drawing/2014/main" id="{E73807DB-6606-44F9-6598-B584913ECD93}"/>
                  </a:ext>
                </a:extLst>
              </p:cNvPr>
              <p:cNvSpPr/>
              <p:nvPr/>
            </p:nvSpPr>
            <p:spPr bwMode="gray">
              <a:xfrm>
                <a:off x="5313780" y="5780031"/>
                <a:ext cx="1599384" cy="30369"/>
              </a:xfrm>
              <a:custGeom>
                <a:avLst/>
                <a:gdLst>
                  <a:gd name="connsiteX0" fmla="*/ 866344 w 1732689"/>
                  <a:gd name="connsiteY0" fmla="*/ 10785 h 32900"/>
                  <a:gd name="connsiteX1" fmla="*/ 0 w 1732689"/>
                  <a:gd name="connsiteY1" fmla="*/ 40 h 32900"/>
                  <a:gd name="connsiteX2" fmla="*/ 0 w 1732689"/>
                  <a:gd name="connsiteY2" fmla="*/ 18236 h 32900"/>
                  <a:gd name="connsiteX3" fmla="*/ 866344 w 1732689"/>
                  <a:gd name="connsiteY3" fmla="*/ 32167 h 32900"/>
                  <a:gd name="connsiteX4" fmla="*/ 1732690 w 1732689"/>
                  <a:gd name="connsiteY4" fmla="*/ 18236 h 32900"/>
                  <a:gd name="connsiteX5" fmla="*/ 1732690 w 1732689"/>
                  <a:gd name="connsiteY5" fmla="*/ 40 h 32900"/>
                  <a:gd name="connsiteX6" fmla="*/ 866344 w 1732689"/>
                  <a:gd name="connsiteY6" fmla="*/ 10785 h 3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2689" h="32900">
                    <a:moveTo>
                      <a:pt x="866344" y="10785"/>
                    </a:moveTo>
                    <a:cubicBezTo>
                      <a:pt x="85257" y="10785"/>
                      <a:pt x="0" y="15050"/>
                      <a:pt x="0" y="40"/>
                    </a:cubicBezTo>
                    <a:cubicBezTo>
                      <a:pt x="0" y="-986"/>
                      <a:pt x="0" y="18236"/>
                      <a:pt x="0" y="18236"/>
                    </a:cubicBezTo>
                    <a:cubicBezTo>
                      <a:pt x="0" y="37728"/>
                      <a:pt x="85257" y="32167"/>
                      <a:pt x="866344" y="32167"/>
                    </a:cubicBezTo>
                    <a:cubicBezTo>
                      <a:pt x="1647432" y="32167"/>
                      <a:pt x="1732690" y="37728"/>
                      <a:pt x="1732690" y="18236"/>
                    </a:cubicBezTo>
                    <a:lnTo>
                      <a:pt x="1732690" y="40"/>
                    </a:lnTo>
                    <a:cubicBezTo>
                      <a:pt x="1732636" y="15104"/>
                      <a:pt x="1647216" y="10785"/>
                      <a:pt x="866344" y="10785"/>
                    </a:cubicBez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2100" dirty="0"/>
              </a:p>
            </p:txBody>
          </p:sp>
          <p:sp>
            <p:nvSpPr>
              <p:cNvPr id="74" name="Grafik 9">
                <a:extLst>
                  <a:ext uri="{FF2B5EF4-FFF2-40B4-BE49-F238E27FC236}">
                    <a16:creationId xmlns:a16="http://schemas.microsoft.com/office/drawing/2014/main" id="{7995A34F-1B83-3F9C-953E-C802EF4F7681}"/>
                  </a:ext>
                </a:extLst>
              </p:cNvPr>
              <p:cNvSpPr>
                <a:spLocks noChangeAspect="1"/>
              </p:cNvSpPr>
              <p:nvPr/>
            </p:nvSpPr>
            <p:spPr bwMode="gray">
              <a:xfrm>
                <a:off x="5314272" y="4710855"/>
                <a:ext cx="1598400" cy="1079648"/>
              </a:xfrm>
              <a:custGeom>
                <a:avLst/>
                <a:gdLst>
                  <a:gd name="connsiteX0" fmla="*/ 2451926 w 3056572"/>
                  <a:gd name="connsiteY0" fmla="*/ 0 h 2064579"/>
                  <a:gd name="connsiteX1" fmla="*/ 2532412 w 3056572"/>
                  <a:gd name="connsiteY1" fmla="*/ 1382173 h 2064579"/>
                  <a:gd name="connsiteX2" fmla="*/ 2665762 w 3056572"/>
                  <a:gd name="connsiteY2" fmla="*/ 1884712 h 2064579"/>
                  <a:gd name="connsiteX3" fmla="*/ 3056573 w 3056572"/>
                  <a:gd name="connsiteY3" fmla="*/ 2044637 h 2064579"/>
                  <a:gd name="connsiteX4" fmla="*/ 1528286 w 3056572"/>
                  <a:gd name="connsiteY4" fmla="*/ 2063591 h 2064579"/>
                  <a:gd name="connsiteX5" fmla="*/ 0 w 3056572"/>
                  <a:gd name="connsiteY5" fmla="*/ 2044637 h 2064579"/>
                  <a:gd name="connsiteX6" fmla="*/ 390811 w 3056572"/>
                  <a:gd name="connsiteY6" fmla="*/ 1884712 h 2064579"/>
                  <a:gd name="connsiteX7" fmla="*/ 505111 w 3056572"/>
                  <a:gd name="connsiteY7" fmla="*/ 1382173 h 2064579"/>
                  <a:gd name="connsiteX8" fmla="*/ 585597 w 3056572"/>
                  <a:gd name="connsiteY8" fmla="*/ 0 h 2064579"/>
                  <a:gd name="connsiteX9" fmla="*/ 2451926 w 3056572"/>
                  <a:gd name="connsiteY9" fmla="*/ 0 h 20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6572" h="2064579">
                    <a:moveTo>
                      <a:pt x="2451926" y="0"/>
                    </a:moveTo>
                    <a:cubicBezTo>
                      <a:pt x="2451926" y="0"/>
                      <a:pt x="2509838" y="1177004"/>
                      <a:pt x="2532412" y="1382173"/>
                    </a:cubicBezTo>
                    <a:cubicBezTo>
                      <a:pt x="2560130" y="1634300"/>
                      <a:pt x="2596991" y="1831753"/>
                      <a:pt x="2665762" y="1884712"/>
                    </a:cubicBezTo>
                    <a:cubicBezTo>
                      <a:pt x="2754059" y="1952720"/>
                      <a:pt x="3056573" y="2018157"/>
                      <a:pt x="3056573" y="2044637"/>
                    </a:cubicBezTo>
                    <a:cubicBezTo>
                      <a:pt x="3056573" y="2071116"/>
                      <a:pt x="2906173" y="2063591"/>
                      <a:pt x="1528286" y="2063591"/>
                    </a:cubicBezTo>
                    <a:cubicBezTo>
                      <a:pt x="150400" y="2063591"/>
                      <a:pt x="0" y="2071116"/>
                      <a:pt x="0" y="2044637"/>
                    </a:cubicBezTo>
                    <a:cubicBezTo>
                      <a:pt x="0" y="2018157"/>
                      <a:pt x="302514" y="1952720"/>
                      <a:pt x="390811" y="1884712"/>
                    </a:cubicBezTo>
                    <a:cubicBezTo>
                      <a:pt x="459581" y="1831753"/>
                      <a:pt x="477393" y="1634204"/>
                      <a:pt x="505111" y="1382173"/>
                    </a:cubicBezTo>
                    <a:cubicBezTo>
                      <a:pt x="527780" y="1177004"/>
                      <a:pt x="585597" y="0"/>
                      <a:pt x="585597" y="0"/>
                    </a:cubicBezTo>
                    <a:lnTo>
                      <a:pt x="2451926" y="0"/>
                    </a:ln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US" sz="2100" dirty="0"/>
              </a:p>
            </p:txBody>
          </p:sp>
        </p:grpSp>
        <p:grpSp>
          <p:nvGrpSpPr>
            <p:cNvPr id="63" name="Bildschirm">
              <a:extLst>
                <a:ext uri="{FF2B5EF4-FFF2-40B4-BE49-F238E27FC236}">
                  <a16:creationId xmlns:a16="http://schemas.microsoft.com/office/drawing/2014/main" id="{FFCBE9BA-6824-E087-CE1B-A00A01D653B5}"/>
                </a:ext>
              </a:extLst>
            </p:cNvPr>
            <p:cNvGrpSpPr>
              <a:grpSpLocks noChangeAspect="1"/>
            </p:cNvGrpSpPr>
            <p:nvPr/>
          </p:nvGrpSpPr>
          <p:grpSpPr bwMode="gray">
            <a:xfrm>
              <a:off x="3486052" y="1580400"/>
              <a:ext cx="5254892" cy="3624158"/>
              <a:chOff x="15786068" y="1136714"/>
              <a:chExt cx="5246890" cy="3618640"/>
            </a:xfrm>
            <a:scene3d>
              <a:camera prst="perspectiveRelaxed">
                <a:rot lat="20700000" lon="0" rev="0"/>
              </a:camera>
              <a:lightRig rig="threePt" dir="t"/>
            </a:scene3d>
          </p:grpSpPr>
          <p:sp>
            <p:nvSpPr>
              <p:cNvPr id="67" name="Freihandform: Form 66">
                <a:extLst>
                  <a:ext uri="{FF2B5EF4-FFF2-40B4-BE49-F238E27FC236}">
                    <a16:creationId xmlns:a16="http://schemas.microsoft.com/office/drawing/2014/main" id="{0F487CB7-7B24-E0F2-7256-696E2E93D489}"/>
                  </a:ext>
                </a:extLst>
              </p:cNvPr>
              <p:cNvSpPr/>
              <p:nvPr/>
            </p:nvSpPr>
            <p:spPr bwMode="gray">
              <a:xfrm>
                <a:off x="15786068" y="1136714"/>
                <a:ext cx="5246842" cy="3602168"/>
              </a:xfrm>
              <a:custGeom>
                <a:avLst/>
                <a:gdLst>
                  <a:gd name="connsiteX0" fmla="*/ 5539747 w 5692821"/>
                  <a:gd name="connsiteY0" fmla="*/ 3908351 h 3908351"/>
                  <a:gd name="connsiteX1" fmla="*/ 153075 w 5692821"/>
                  <a:gd name="connsiteY1" fmla="*/ 3908351 h 3908351"/>
                  <a:gd name="connsiteX2" fmla="*/ 0 w 5692821"/>
                  <a:gd name="connsiteY2" fmla="*/ 3755276 h 3908351"/>
                  <a:gd name="connsiteX3" fmla="*/ 0 w 5692821"/>
                  <a:gd name="connsiteY3" fmla="*/ 153075 h 3908351"/>
                  <a:gd name="connsiteX4" fmla="*/ 153075 w 5692821"/>
                  <a:gd name="connsiteY4" fmla="*/ 0 h 3908351"/>
                  <a:gd name="connsiteX5" fmla="*/ 5539747 w 5692821"/>
                  <a:gd name="connsiteY5" fmla="*/ 0 h 3908351"/>
                  <a:gd name="connsiteX6" fmla="*/ 5692822 w 5692821"/>
                  <a:gd name="connsiteY6" fmla="*/ 153075 h 3908351"/>
                  <a:gd name="connsiteX7" fmla="*/ 5692822 w 5692821"/>
                  <a:gd name="connsiteY7" fmla="*/ 3755330 h 3908351"/>
                  <a:gd name="connsiteX8" fmla="*/ 5539747 w 5692821"/>
                  <a:gd name="connsiteY8" fmla="*/ 3908351 h 39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92821" h="3908351">
                    <a:moveTo>
                      <a:pt x="5539747" y="3908351"/>
                    </a:moveTo>
                    <a:lnTo>
                      <a:pt x="153075" y="3908351"/>
                    </a:lnTo>
                    <a:cubicBezTo>
                      <a:pt x="68897" y="3908351"/>
                      <a:pt x="0" y="3839454"/>
                      <a:pt x="0" y="3755276"/>
                    </a:cubicBezTo>
                    <a:lnTo>
                      <a:pt x="0" y="153075"/>
                    </a:lnTo>
                    <a:cubicBezTo>
                      <a:pt x="0" y="68897"/>
                      <a:pt x="68897" y="0"/>
                      <a:pt x="153075" y="0"/>
                    </a:cubicBezTo>
                    <a:lnTo>
                      <a:pt x="5539747" y="0"/>
                    </a:lnTo>
                    <a:cubicBezTo>
                      <a:pt x="5623925" y="0"/>
                      <a:pt x="5692822" y="68897"/>
                      <a:pt x="5692822" y="153075"/>
                    </a:cubicBezTo>
                    <a:lnTo>
                      <a:pt x="5692822" y="3755330"/>
                    </a:lnTo>
                    <a:cubicBezTo>
                      <a:pt x="5692822" y="3839508"/>
                      <a:pt x="5623925" y="3908351"/>
                      <a:pt x="5539747" y="3908351"/>
                    </a:cubicBez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sp>
            <p:nvSpPr>
              <p:cNvPr id="68" name="Freihandform: Form 67">
                <a:extLst>
                  <a:ext uri="{FF2B5EF4-FFF2-40B4-BE49-F238E27FC236}">
                    <a16:creationId xmlns:a16="http://schemas.microsoft.com/office/drawing/2014/main" id="{3C43E9EA-8D47-76EB-FEBF-4598E0CF4AE0}"/>
                  </a:ext>
                </a:extLst>
              </p:cNvPr>
              <p:cNvSpPr/>
              <p:nvPr/>
            </p:nvSpPr>
            <p:spPr bwMode="gray">
              <a:xfrm>
                <a:off x="15786116" y="1136714"/>
                <a:ext cx="5246842" cy="3125073"/>
              </a:xfrm>
              <a:custGeom>
                <a:avLst/>
                <a:gdLst>
                  <a:gd name="connsiteX0" fmla="*/ 5692768 w 5692821"/>
                  <a:gd name="connsiteY0" fmla="*/ 3390704 h 3390703"/>
                  <a:gd name="connsiteX1" fmla="*/ 0 w 5692821"/>
                  <a:gd name="connsiteY1" fmla="*/ 3390704 h 3390703"/>
                  <a:gd name="connsiteX2" fmla="*/ 0 w 5692821"/>
                  <a:gd name="connsiteY2" fmla="*/ 153075 h 3390703"/>
                  <a:gd name="connsiteX3" fmla="*/ 153075 w 5692821"/>
                  <a:gd name="connsiteY3" fmla="*/ 0 h 3390703"/>
                  <a:gd name="connsiteX4" fmla="*/ 5539747 w 5692821"/>
                  <a:gd name="connsiteY4" fmla="*/ 0 h 3390703"/>
                  <a:gd name="connsiteX5" fmla="*/ 5692822 w 5692821"/>
                  <a:gd name="connsiteY5" fmla="*/ 153075 h 3390703"/>
                  <a:gd name="connsiteX6" fmla="*/ 5692822 w 5692821"/>
                  <a:gd name="connsiteY6" fmla="*/ 3390704 h 339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2821" h="3390703">
                    <a:moveTo>
                      <a:pt x="5692768" y="3390704"/>
                    </a:moveTo>
                    <a:lnTo>
                      <a:pt x="0" y="3390704"/>
                    </a:lnTo>
                    <a:lnTo>
                      <a:pt x="0" y="153075"/>
                    </a:lnTo>
                    <a:cubicBezTo>
                      <a:pt x="0" y="68897"/>
                      <a:pt x="68897" y="0"/>
                      <a:pt x="153075" y="0"/>
                    </a:cubicBezTo>
                    <a:lnTo>
                      <a:pt x="5539747" y="0"/>
                    </a:lnTo>
                    <a:cubicBezTo>
                      <a:pt x="5623925" y="0"/>
                      <a:pt x="5692822" y="68897"/>
                      <a:pt x="5692822" y="153075"/>
                    </a:cubicBezTo>
                    <a:lnTo>
                      <a:pt x="5692822" y="3390704"/>
                    </a:ln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sp>
            <p:nvSpPr>
              <p:cNvPr id="69" name="Freihandform: Form 68">
                <a:extLst>
                  <a:ext uri="{FF2B5EF4-FFF2-40B4-BE49-F238E27FC236}">
                    <a16:creationId xmlns:a16="http://schemas.microsoft.com/office/drawing/2014/main" id="{2F370990-8C9C-308E-B23A-C8566FA23738}"/>
                  </a:ext>
                </a:extLst>
              </p:cNvPr>
              <p:cNvSpPr/>
              <p:nvPr/>
            </p:nvSpPr>
            <p:spPr bwMode="gray">
              <a:xfrm>
                <a:off x="20891827" y="4738882"/>
                <a:ext cx="50" cy="4976"/>
              </a:xfrm>
              <a:custGeom>
                <a:avLst/>
                <a:gdLst>
                  <a:gd name="connsiteX0" fmla="*/ 54 w 54"/>
                  <a:gd name="connsiteY0" fmla="*/ 0 h 5399"/>
                  <a:gd name="connsiteX1" fmla="*/ 0 w 54"/>
                  <a:gd name="connsiteY1" fmla="*/ 0 h 5399"/>
                  <a:gd name="connsiteX2" fmla="*/ 54 w 54"/>
                  <a:gd name="connsiteY2" fmla="*/ 0 h 5399"/>
                </a:gdLst>
                <a:ahLst/>
                <a:cxnLst>
                  <a:cxn ang="0">
                    <a:pos x="connsiteX0" y="connsiteY0"/>
                  </a:cxn>
                  <a:cxn ang="0">
                    <a:pos x="connsiteX1" y="connsiteY1"/>
                  </a:cxn>
                  <a:cxn ang="0">
                    <a:pos x="connsiteX2" y="connsiteY2"/>
                  </a:cxn>
                </a:cxnLst>
                <a:rect l="l" t="t" r="r" b="b"/>
                <a:pathLst>
                  <a:path w="54" h="5399">
                    <a:moveTo>
                      <a:pt x="54" y="0"/>
                    </a:moveTo>
                    <a:lnTo>
                      <a:pt x="0" y="0"/>
                    </a:lnTo>
                    <a:lnTo>
                      <a:pt x="54" y="0"/>
                    </a:lnTo>
                    <a:close/>
                  </a:path>
                </a:pathLst>
              </a:custGeom>
              <a:solidFill>
                <a:schemeClr val="tx1">
                  <a:lumMod val="65000"/>
                  <a:lumOff val="35000"/>
                </a:schemeClr>
              </a:solidFill>
              <a:ln w="5399" cap="flat">
                <a:noFill/>
                <a:prstDash val="solid"/>
                <a:miter/>
              </a:ln>
            </p:spPr>
            <p:txBody>
              <a:bodyPr lIns="0" tIns="0" rIns="0" bIns="0" rtlCol="0" anchor="ctr"/>
              <a:lstStyle/>
              <a:p>
                <a:endParaRPr lang="en-US" sz="1984" dirty="0"/>
              </a:p>
            </p:txBody>
          </p:sp>
          <p:grpSp>
            <p:nvGrpSpPr>
              <p:cNvPr id="70" name="Grafik 85">
                <a:extLst>
                  <a:ext uri="{FF2B5EF4-FFF2-40B4-BE49-F238E27FC236}">
                    <a16:creationId xmlns:a16="http://schemas.microsoft.com/office/drawing/2014/main" id="{FC68A16A-74DA-8562-3D52-5EB2E540E116}"/>
                  </a:ext>
                </a:extLst>
              </p:cNvPr>
              <p:cNvGrpSpPr/>
              <p:nvPr/>
            </p:nvGrpSpPr>
            <p:grpSpPr bwMode="gray">
              <a:xfrm>
                <a:off x="15847079" y="4712009"/>
                <a:ext cx="5127307" cy="43345"/>
                <a:chOff x="2778998" y="5016119"/>
                <a:chExt cx="5563126" cy="47029"/>
              </a:xfrm>
              <a:solidFill>
                <a:schemeClr val="tx1">
                  <a:lumMod val="65000"/>
                  <a:lumOff val="35000"/>
                </a:schemeClr>
              </a:solidFill>
            </p:grpSpPr>
            <p:sp>
              <p:nvSpPr>
                <p:cNvPr id="71" name="Freihandform: Form 70">
                  <a:extLst>
                    <a:ext uri="{FF2B5EF4-FFF2-40B4-BE49-F238E27FC236}">
                      <a16:creationId xmlns:a16="http://schemas.microsoft.com/office/drawing/2014/main" id="{EB61B385-0206-3EEF-BC25-1DA28F9D1512}"/>
                    </a:ext>
                  </a:extLst>
                </p:cNvPr>
                <p:cNvSpPr/>
                <p:nvPr/>
              </p:nvSpPr>
              <p:spPr bwMode="gray">
                <a:xfrm>
                  <a:off x="8252547" y="5045276"/>
                  <a:ext cx="54" cy="5399"/>
                </a:xfrm>
                <a:custGeom>
                  <a:avLst/>
                  <a:gdLst>
                    <a:gd name="connsiteX0" fmla="*/ 54 w 54"/>
                    <a:gd name="connsiteY0" fmla="*/ 0 h 5399"/>
                    <a:gd name="connsiteX1" fmla="*/ 0 w 54"/>
                    <a:gd name="connsiteY1" fmla="*/ 0 h 5399"/>
                    <a:gd name="connsiteX2" fmla="*/ 54 w 54"/>
                    <a:gd name="connsiteY2" fmla="*/ 0 h 5399"/>
                  </a:gdLst>
                  <a:ahLst/>
                  <a:cxnLst>
                    <a:cxn ang="0">
                      <a:pos x="connsiteX0" y="connsiteY0"/>
                    </a:cxn>
                    <a:cxn ang="0">
                      <a:pos x="connsiteX1" y="connsiteY1"/>
                    </a:cxn>
                    <a:cxn ang="0">
                      <a:pos x="connsiteX2" y="connsiteY2"/>
                    </a:cxn>
                  </a:cxnLst>
                  <a:rect l="l" t="t" r="r" b="b"/>
                  <a:pathLst>
                    <a:path w="54" h="5399">
                      <a:moveTo>
                        <a:pt x="54" y="0"/>
                      </a:moveTo>
                      <a:lnTo>
                        <a:pt x="0" y="0"/>
                      </a:lnTo>
                      <a:lnTo>
                        <a:pt x="54" y="0"/>
                      </a:lnTo>
                      <a:close/>
                    </a:path>
                  </a:pathLst>
                </a:custGeom>
                <a:grpFill/>
                <a:ln w="5399" cap="flat">
                  <a:noFill/>
                  <a:prstDash val="solid"/>
                  <a:miter/>
                </a:ln>
              </p:spPr>
              <p:txBody>
                <a:bodyPr lIns="0" tIns="0" rIns="0" bIns="0" rtlCol="0" anchor="ctr"/>
                <a:lstStyle/>
                <a:p>
                  <a:endParaRPr lang="en-US" sz="1984" dirty="0"/>
                </a:p>
              </p:txBody>
            </p:sp>
            <p:sp>
              <p:nvSpPr>
                <p:cNvPr id="72" name="Freihandform: Form 71">
                  <a:extLst>
                    <a:ext uri="{FF2B5EF4-FFF2-40B4-BE49-F238E27FC236}">
                      <a16:creationId xmlns:a16="http://schemas.microsoft.com/office/drawing/2014/main" id="{F539CA58-2A51-9E7C-FF8A-EFE738B30D49}"/>
                    </a:ext>
                  </a:extLst>
                </p:cNvPr>
                <p:cNvSpPr/>
                <p:nvPr/>
              </p:nvSpPr>
              <p:spPr bwMode="gray">
                <a:xfrm>
                  <a:off x="2778998" y="5016119"/>
                  <a:ext cx="5563126" cy="47029"/>
                </a:xfrm>
                <a:custGeom>
                  <a:avLst/>
                  <a:gdLst>
                    <a:gd name="connsiteX0" fmla="*/ 5563127 w 5563126"/>
                    <a:gd name="connsiteY0" fmla="*/ 0 h 47029"/>
                    <a:gd name="connsiteX1" fmla="*/ 5473550 w 5563126"/>
                    <a:gd name="connsiteY1" fmla="*/ 29211 h 47029"/>
                    <a:gd name="connsiteX2" fmla="*/ 86878 w 5563126"/>
                    <a:gd name="connsiteY2" fmla="*/ 29211 h 47029"/>
                    <a:gd name="connsiteX3" fmla="*/ 54 w 5563126"/>
                    <a:gd name="connsiteY3" fmla="*/ 1944 h 47029"/>
                    <a:gd name="connsiteX4" fmla="*/ 0 w 5563126"/>
                    <a:gd name="connsiteY4" fmla="*/ 1944 h 47029"/>
                    <a:gd name="connsiteX5" fmla="*/ 108205 w 5563126"/>
                    <a:gd name="connsiteY5" fmla="*/ 47029 h 47029"/>
                    <a:gd name="connsiteX6" fmla="*/ 5452221 w 5563126"/>
                    <a:gd name="connsiteY6" fmla="*/ 47029 h 47029"/>
                    <a:gd name="connsiteX7" fmla="*/ 5563127 w 5563126"/>
                    <a:gd name="connsiteY7" fmla="*/ 0 h 47029"/>
                    <a:gd name="connsiteX8" fmla="*/ 5563127 w 5563126"/>
                    <a:gd name="connsiteY8" fmla="*/ 0 h 4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3126" h="47029">
                      <a:moveTo>
                        <a:pt x="5563127" y="0"/>
                      </a:moveTo>
                      <a:cubicBezTo>
                        <a:pt x="5537911" y="18304"/>
                        <a:pt x="5506918" y="29211"/>
                        <a:pt x="5473550" y="29211"/>
                      </a:cubicBezTo>
                      <a:lnTo>
                        <a:pt x="86878" y="29211"/>
                      </a:lnTo>
                      <a:cubicBezTo>
                        <a:pt x="54697" y="29211"/>
                        <a:pt x="24784" y="19114"/>
                        <a:pt x="54" y="1944"/>
                      </a:cubicBezTo>
                      <a:lnTo>
                        <a:pt x="0" y="1944"/>
                      </a:lnTo>
                      <a:cubicBezTo>
                        <a:pt x="27753" y="29751"/>
                        <a:pt x="66089" y="47029"/>
                        <a:pt x="108205" y="47029"/>
                      </a:cubicBezTo>
                      <a:lnTo>
                        <a:pt x="5452221" y="47029"/>
                      </a:lnTo>
                      <a:cubicBezTo>
                        <a:pt x="5495310" y="47029"/>
                        <a:pt x="5535158" y="28779"/>
                        <a:pt x="5563127" y="0"/>
                      </a:cubicBezTo>
                      <a:lnTo>
                        <a:pt x="5563127" y="0"/>
                      </a:ln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grpSp>
        </p:grpSp>
      </p:grpSp>
      <p:sp>
        <p:nvSpPr>
          <p:cNvPr id="75" name="Bild">
            <a:extLst>
              <a:ext uri="{FF2B5EF4-FFF2-40B4-BE49-F238E27FC236}">
                <a16:creationId xmlns:a16="http://schemas.microsoft.com/office/drawing/2014/main" id="{78C1D6B7-ED67-17EF-A232-461CA6C76A7A}"/>
              </a:ext>
            </a:extLst>
          </p:cNvPr>
          <p:cNvSpPr>
            <a:spLocks noGrp="1" noChangeAspect="1"/>
          </p:cNvSpPr>
          <p:nvPr>
            <p:ph type="pic" sz="quarter" idx="15"/>
          </p:nvPr>
        </p:nvSpPr>
        <p:spPr bwMode="gray">
          <a:xfrm>
            <a:off x="1023502" y="1881525"/>
            <a:ext cx="5072498" cy="2840669"/>
          </a:xfrm>
          <a:custGeom>
            <a:avLst/>
            <a:gdLst>
              <a:gd name="connsiteX0" fmla="*/ 0 w 4830950"/>
              <a:gd name="connsiteY0" fmla="*/ 0 h 2705995"/>
              <a:gd name="connsiteX1" fmla="*/ 4830950 w 4830950"/>
              <a:gd name="connsiteY1" fmla="*/ 0 h 2705995"/>
              <a:gd name="connsiteX2" fmla="*/ 4830950 w 4830950"/>
              <a:gd name="connsiteY2" fmla="*/ 2705995 h 2705995"/>
              <a:gd name="connsiteX3" fmla="*/ 0 w 4830950"/>
              <a:gd name="connsiteY3" fmla="*/ 2705995 h 2705995"/>
            </a:gdLst>
            <a:ahLst/>
            <a:cxnLst>
              <a:cxn ang="0">
                <a:pos x="connsiteX0" y="connsiteY0"/>
              </a:cxn>
              <a:cxn ang="0">
                <a:pos x="connsiteX1" y="connsiteY1"/>
              </a:cxn>
              <a:cxn ang="0">
                <a:pos x="connsiteX2" y="connsiteY2"/>
              </a:cxn>
              <a:cxn ang="0">
                <a:pos x="connsiteX3" y="connsiteY3"/>
              </a:cxn>
            </a:cxnLst>
            <a:rect l="l" t="t" r="r" b="b"/>
            <a:pathLst>
              <a:path w="4830950" h="2705995">
                <a:moveTo>
                  <a:pt x="0" y="0"/>
                </a:moveTo>
                <a:lnTo>
                  <a:pt x="4830950" y="0"/>
                </a:lnTo>
                <a:lnTo>
                  <a:pt x="4830950" y="2705995"/>
                </a:lnTo>
                <a:lnTo>
                  <a:pt x="0" y="2705995"/>
                </a:lnTo>
                <a:close/>
              </a:path>
            </a:pathLst>
          </a:custGeom>
          <a:solidFill>
            <a:schemeClr val="bg1">
              <a:lumMod val="85000"/>
            </a:schemeClr>
          </a:solidFill>
          <a:scene3d>
            <a:camera prst="perspectiveRelaxed">
              <a:rot lat="20580000" lon="0" rev="0"/>
            </a:camera>
            <a:lightRig rig="threePt" dir="t"/>
          </a:scene3d>
        </p:spPr>
        <p:txBody>
          <a:bodyPr vert="horz" wrap="square" lIns="144000" tIns="144000" rIns="144000" bIns="144000" rtlCol="0">
            <a:noAutofit/>
          </a:bodyPr>
          <a:lstStyle>
            <a:lvl1pPr>
              <a:defRPr lang="en-US"/>
            </a:lvl1pPr>
          </a:lstStyle>
          <a:p>
            <a:pPr lvl="0">
              <a:buNone/>
            </a:pPr>
            <a:r>
              <a:rPr lang="en-US"/>
              <a:t>Click icon to add picture</a:t>
            </a:r>
            <a:endParaRPr lang="en-US" dirty="0"/>
          </a:p>
        </p:txBody>
      </p:sp>
    </p:spTree>
    <p:extLst>
      <p:ext uri="{BB962C8B-B14F-4D97-AF65-F5344CB8AC3E}">
        <p14:creationId xmlns:p14="http://schemas.microsoft.com/office/powerpoint/2010/main" val="4035870440"/>
      </p:ext>
    </p:extLst>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ckUp 3">
    <p:spTree>
      <p:nvGrpSpPr>
        <p:cNvPr id="1" name=""/>
        <p:cNvGrpSpPr/>
        <p:nvPr/>
      </p:nvGrpSpPr>
      <p:grpSpPr>
        <a:xfrm>
          <a:off x="0" y="0"/>
          <a:ext cx="0" cy="0"/>
          <a:chOff x="0" y="0"/>
          <a:chExt cx="0" cy="0"/>
        </a:xfrm>
      </p:grpSpPr>
      <p:cxnSp>
        <p:nvCxnSpPr>
          <p:cNvPr id="21" name="Linie 1">
            <a:extLst>
              <a:ext uri="{FF2B5EF4-FFF2-40B4-BE49-F238E27FC236}">
                <a16:creationId xmlns:a16="http://schemas.microsoft.com/office/drawing/2014/main" id="{7234002F-7513-6F25-BBE0-91BED9A5DC9F}"/>
              </a:ext>
            </a:extLst>
          </p:cNvPr>
          <p:cNvCxnSpPr>
            <a:cxnSpLocks/>
          </p:cNvCxnSpPr>
          <p:nvPr userDrawn="1"/>
        </p:nvCxnSpPr>
        <p:spPr bwMode="gray">
          <a:xfrm flipV="1">
            <a:off x="4407907" y="6089143"/>
            <a:ext cx="5400000" cy="10432"/>
          </a:xfrm>
          <a:prstGeom prst="line">
            <a:avLst/>
          </a:prstGeom>
          <a:ln w="254000">
            <a:gradFill>
              <a:gsLst>
                <a:gs pos="0">
                  <a:schemeClr val="bg1">
                    <a:lumMod val="75000"/>
                    <a:alpha val="0"/>
                  </a:schemeClr>
                </a:gs>
                <a:gs pos="50000">
                  <a:schemeClr val="bg1">
                    <a:lumMod val="75000"/>
                  </a:schemeClr>
                </a:gs>
                <a:gs pos="100000">
                  <a:schemeClr val="bg1">
                    <a:lumMod val="95000"/>
                    <a:alpha val="0"/>
                  </a:schemeClr>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2" name="Linie 2">
            <a:extLst>
              <a:ext uri="{FF2B5EF4-FFF2-40B4-BE49-F238E27FC236}">
                <a16:creationId xmlns:a16="http://schemas.microsoft.com/office/drawing/2014/main" id="{6F7E9CF3-AAC5-7F2F-CEF9-A521E7B1A0CB}"/>
              </a:ext>
            </a:extLst>
          </p:cNvPr>
          <p:cNvCxnSpPr>
            <a:cxnSpLocks/>
          </p:cNvCxnSpPr>
          <p:nvPr userDrawn="1"/>
        </p:nvCxnSpPr>
        <p:spPr bwMode="gray">
          <a:xfrm>
            <a:off x="4407907" y="6099575"/>
            <a:ext cx="5400000" cy="26"/>
          </a:xfrm>
          <a:prstGeom prst="line">
            <a:avLst/>
          </a:prstGeom>
          <a:ln w="254000">
            <a:gradFill>
              <a:gsLst>
                <a:gs pos="75000">
                  <a:srgbClr val="FFFFFF">
                    <a:alpha val="0"/>
                  </a:srgbClr>
                </a:gs>
                <a:gs pos="25000">
                  <a:srgbClr val="FFFFFF">
                    <a:alpha val="0"/>
                  </a:srgbClr>
                </a:gs>
                <a:gs pos="0">
                  <a:schemeClr val="bg1"/>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grpSp>
        <p:nvGrpSpPr>
          <p:cNvPr id="9" name="iMac 27''">
            <a:extLst>
              <a:ext uri="{FF2B5EF4-FFF2-40B4-BE49-F238E27FC236}">
                <a16:creationId xmlns:a16="http://schemas.microsoft.com/office/drawing/2014/main" id="{2C8DB705-01BE-7ABF-7489-6EB1F8685BB8}"/>
              </a:ext>
            </a:extLst>
          </p:cNvPr>
          <p:cNvGrpSpPr>
            <a:grpSpLocks noChangeAspect="1"/>
          </p:cNvGrpSpPr>
          <p:nvPr userDrawn="1"/>
        </p:nvGrpSpPr>
        <p:grpSpPr bwMode="gray">
          <a:xfrm>
            <a:off x="3916826" y="831417"/>
            <a:ext cx="6595701" cy="5268159"/>
            <a:chOff x="5338662" y="792000"/>
            <a:chExt cx="6281620" cy="5018400"/>
          </a:xfrm>
        </p:grpSpPr>
        <p:grpSp>
          <p:nvGrpSpPr>
            <p:cNvPr id="10" name="Fuß">
              <a:extLst>
                <a:ext uri="{FF2B5EF4-FFF2-40B4-BE49-F238E27FC236}">
                  <a16:creationId xmlns:a16="http://schemas.microsoft.com/office/drawing/2014/main" id="{ED196B16-6E88-6844-2CB8-2A295FB16A27}"/>
                </a:ext>
              </a:extLst>
            </p:cNvPr>
            <p:cNvGrpSpPr>
              <a:grpSpLocks noChangeAspect="1"/>
            </p:cNvGrpSpPr>
            <p:nvPr/>
          </p:nvGrpSpPr>
          <p:grpSpPr bwMode="gray">
            <a:xfrm>
              <a:off x="7240796" y="4982479"/>
              <a:ext cx="2123914" cy="827921"/>
              <a:chOff x="16270915" y="5729118"/>
              <a:chExt cx="2901699" cy="1131109"/>
            </a:xfrm>
          </p:grpSpPr>
          <p:sp>
            <p:nvSpPr>
              <p:cNvPr id="18" name="Freihandform: Form 17">
                <a:extLst>
                  <a:ext uri="{FF2B5EF4-FFF2-40B4-BE49-F238E27FC236}">
                    <a16:creationId xmlns:a16="http://schemas.microsoft.com/office/drawing/2014/main" id="{DF7D5FBB-5B5B-F498-6335-3F1C01FD95C7}"/>
                  </a:ext>
                </a:extLst>
              </p:cNvPr>
              <p:cNvSpPr>
                <a:spLocks noChangeAspect="1"/>
              </p:cNvSpPr>
              <p:nvPr/>
            </p:nvSpPr>
            <p:spPr bwMode="gray">
              <a:xfrm>
                <a:off x="16270915" y="5729118"/>
                <a:ext cx="2869120" cy="1106674"/>
              </a:xfrm>
              <a:custGeom>
                <a:avLst/>
                <a:gdLst>
                  <a:gd name="connsiteX0" fmla="*/ 2694656 w 2869120"/>
                  <a:gd name="connsiteY0" fmla="*/ 0 h 1106674"/>
                  <a:gd name="connsiteX1" fmla="*/ 2869120 w 2869120"/>
                  <a:gd name="connsiteY1" fmla="*/ 802923 h 1106674"/>
                  <a:gd name="connsiteX2" fmla="*/ 2713471 w 2869120"/>
                  <a:gd name="connsiteY2" fmla="*/ 976735 h 1106674"/>
                  <a:gd name="connsiteX3" fmla="*/ 2135021 w 2869120"/>
                  <a:gd name="connsiteY3" fmla="*/ 1082456 h 1106674"/>
                  <a:gd name="connsiteX4" fmla="*/ 0 w 2869120"/>
                  <a:gd name="connsiteY4" fmla="*/ 1101352 h 1106674"/>
                  <a:gd name="connsiteX5" fmla="*/ 1020392 w 2869120"/>
                  <a:gd name="connsiteY5" fmla="*/ 991966 h 1106674"/>
                  <a:gd name="connsiteX6" fmla="*/ 1348387 w 2869120"/>
                  <a:gd name="connsiteY6" fmla="*/ 686207 h 1106674"/>
                  <a:gd name="connsiteX7" fmla="*/ 1296341 w 2869120"/>
                  <a:gd name="connsiteY7" fmla="*/ 35675 h 1106674"/>
                  <a:gd name="connsiteX8" fmla="*/ 2694656 w 2869120"/>
                  <a:gd name="connsiteY8" fmla="*/ 0 h 110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9120" h="1106674">
                    <a:moveTo>
                      <a:pt x="2694656" y="0"/>
                    </a:moveTo>
                    <a:cubicBezTo>
                      <a:pt x="2694656" y="0"/>
                      <a:pt x="2869120" y="607446"/>
                      <a:pt x="2869120" y="802923"/>
                    </a:cubicBezTo>
                    <a:cubicBezTo>
                      <a:pt x="2869120" y="938536"/>
                      <a:pt x="2825871" y="962645"/>
                      <a:pt x="2713471" y="976735"/>
                    </a:cubicBezTo>
                    <a:cubicBezTo>
                      <a:pt x="2599687" y="991071"/>
                      <a:pt x="2221764" y="1082456"/>
                      <a:pt x="2135021" y="1082456"/>
                    </a:cubicBezTo>
                    <a:cubicBezTo>
                      <a:pt x="2048278" y="1082456"/>
                      <a:pt x="0" y="1120330"/>
                      <a:pt x="0" y="1101352"/>
                    </a:cubicBezTo>
                    <a:cubicBezTo>
                      <a:pt x="0" y="1082375"/>
                      <a:pt x="892191" y="1004591"/>
                      <a:pt x="1020392" y="991966"/>
                    </a:cubicBezTo>
                    <a:cubicBezTo>
                      <a:pt x="1148593" y="979342"/>
                      <a:pt x="1348387" y="960527"/>
                      <a:pt x="1348387" y="686207"/>
                    </a:cubicBezTo>
                    <a:cubicBezTo>
                      <a:pt x="1348387" y="411887"/>
                      <a:pt x="1296341" y="35675"/>
                      <a:pt x="1296341" y="35675"/>
                    </a:cubicBezTo>
                    <a:lnTo>
                      <a:pt x="2694656" y="0"/>
                    </a:ln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984" dirty="0"/>
              </a:p>
            </p:txBody>
          </p:sp>
          <p:sp>
            <p:nvSpPr>
              <p:cNvPr id="19" name="Freihandform: Form 18">
                <a:extLst>
                  <a:ext uri="{FF2B5EF4-FFF2-40B4-BE49-F238E27FC236}">
                    <a16:creationId xmlns:a16="http://schemas.microsoft.com/office/drawing/2014/main" id="{EE343994-D230-23D7-6CAA-1C6EFABCB19A}"/>
                  </a:ext>
                </a:extLst>
              </p:cNvPr>
              <p:cNvSpPr>
                <a:spLocks noChangeAspect="1"/>
              </p:cNvSpPr>
              <p:nvPr/>
            </p:nvSpPr>
            <p:spPr bwMode="gray">
              <a:xfrm>
                <a:off x="16270915" y="5729118"/>
                <a:ext cx="2901699" cy="1131109"/>
              </a:xfrm>
              <a:custGeom>
                <a:avLst/>
                <a:gdLst>
                  <a:gd name="connsiteX0" fmla="*/ 2727236 w 2901699"/>
                  <a:gd name="connsiteY0" fmla="*/ 0 h 1131109"/>
                  <a:gd name="connsiteX1" fmla="*/ 2901700 w 2901699"/>
                  <a:gd name="connsiteY1" fmla="*/ 802923 h 1131109"/>
                  <a:gd name="connsiteX2" fmla="*/ 2769264 w 2901699"/>
                  <a:gd name="connsiteY2" fmla="*/ 1048818 h 1131109"/>
                  <a:gd name="connsiteX3" fmla="*/ 2135021 w 2901699"/>
                  <a:gd name="connsiteY3" fmla="*/ 1106891 h 1131109"/>
                  <a:gd name="connsiteX4" fmla="*/ 0 w 2901699"/>
                  <a:gd name="connsiteY4" fmla="*/ 1125787 h 1131109"/>
                  <a:gd name="connsiteX5" fmla="*/ 0 w 2901699"/>
                  <a:gd name="connsiteY5" fmla="*/ 1101352 h 1131109"/>
                  <a:gd name="connsiteX6" fmla="*/ 2135021 w 2901699"/>
                  <a:gd name="connsiteY6" fmla="*/ 1082456 h 1131109"/>
                  <a:gd name="connsiteX7" fmla="*/ 2713471 w 2901699"/>
                  <a:gd name="connsiteY7" fmla="*/ 976735 h 1131109"/>
                  <a:gd name="connsiteX8" fmla="*/ 2869120 w 2901699"/>
                  <a:gd name="connsiteY8" fmla="*/ 802923 h 1131109"/>
                  <a:gd name="connsiteX9" fmla="*/ 2694656 w 2901699"/>
                  <a:gd name="connsiteY9" fmla="*/ 0 h 1131109"/>
                  <a:gd name="connsiteX10" fmla="*/ 2727236 w 2901699"/>
                  <a:gd name="connsiteY10" fmla="*/ 0 h 113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01699" h="1131109">
                    <a:moveTo>
                      <a:pt x="2727236" y="0"/>
                    </a:moveTo>
                    <a:cubicBezTo>
                      <a:pt x="2727236" y="0"/>
                      <a:pt x="2901700" y="607446"/>
                      <a:pt x="2901700" y="802923"/>
                    </a:cubicBezTo>
                    <a:cubicBezTo>
                      <a:pt x="2901700" y="938536"/>
                      <a:pt x="2881663" y="1034727"/>
                      <a:pt x="2769264" y="1048818"/>
                    </a:cubicBezTo>
                    <a:cubicBezTo>
                      <a:pt x="2655479" y="1063153"/>
                      <a:pt x="2221682" y="1106891"/>
                      <a:pt x="2135021" y="1106891"/>
                    </a:cubicBezTo>
                    <a:cubicBezTo>
                      <a:pt x="2048278" y="1106891"/>
                      <a:pt x="0" y="1144765"/>
                      <a:pt x="0" y="1125787"/>
                    </a:cubicBezTo>
                    <a:lnTo>
                      <a:pt x="0" y="1101352"/>
                    </a:lnTo>
                    <a:cubicBezTo>
                      <a:pt x="0" y="1120248"/>
                      <a:pt x="2048278" y="1082456"/>
                      <a:pt x="2135021" y="1082456"/>
                    </a:cubicBezTo>
                    <a:cubicBezTo>
                      <a:pt x="2221764" y="1082456"/>
                      <a:pt x="2599687" y="991071"/>
                      <a:pt x="2713471" y="976735"/>
                    </a:cubicBezTo>
                    <a:cubicBezTo>
                      <a:pt x="2825871" y="962645"/>
                      <a:pt x="2869120" y="938454"/>
                      <a:pt x="2869120" y="802923"/>
                    </a:cubicBezTo>
                    <a:cubicBezTo>
                      <a:pt x="2869120" y="607446"/>
                      <a:pt x="2694656" y="0"/>
                      <a:pt x="2694656" y="0"/>
                    </a:cubicBezTo>
                    <a:lnTo>
                      <a:pt x="2727236" y="0"/>
                    </a:lnTo>
                    <a:close/>
                  </a:path>
                </a:pathLst>
              </a:custGeom>
              <a:solidFill>
                <a:schemeClr val="bg1"/>
              </a:solidFill>
              <a:ln w="6350" cap="rnd">
                <a:solidFill>
                  <a:schemeClr val="tx1"/>
                </a:solidFill>
                <a:prstDash val="solid"/>
                <a:rou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984" dirty="0"/>
              </a:p>
            </p:txBody>
          </p:sp>
        </p:grpSp>
        <p:grpSp>
          <p:nvGrpSpPr>
            <p:cNvPr id="11" name="Bildschirm">
              <a:extLst>
                <a:ext uri="{FF2B5EF4-FFF2-40B4-BE49-F238E27FC236}">
                  <a16:creationId xmlns:a16="http://schemas.microsoft.com/office/drawing/2014/main" id="{2FFCEE37-3CE1-85E8-2C14-CB3DA5388E14}"/>
                </a:ext>
              </a:extLst>
            </p:cNvPr>
            <p:cNvGrpSpPr>
              <a:grpSpLocks noChangeAspect="1"/>
            </p:cNvGrpSpPr>
            <p:nvPr userDrawn="1"/>
          </p:nvGrpSpPr>
          <p:grpSpPr bwMode="gray">
            <a:xfrm>
              <a:off x="5338662" y="792000"/>
              <a:ext cx="6281620" cy="4298400"/>
              <a:chOff x="12951751" y="792000"/>
              <a:chExt cx="6281620" cy="4298400"/>
            </a:xfrm>
            <a:scene3d>
              <a:camera prst="perspectiveContrastingLeftFacing" fov="1920000">
                <a:rot lat="20700000" lon="2280000" rev="21360000"/>
              </a:camera>
              <a:lightRig rig="threePt" dir="t"/>
            </a:scene3d>
          </p:grpSpPr>
          <p:sp>
            <p:nvSpPr>
              <p:cNvPr id="15" name="Freihandform: Form 14">
                <a:extLst>
                  <a:ext uri="{FF2B5EF4-FFF2-40B4-BE49-F238E27FC236}">
                    <a16:creationId xmlns:a16="http://schemas.microsoft.com/office/drawing/2014/main" id="{50B7BEC2-4237-465B-DAC5-2E837C906CEB}"/>
                  </a:ext>
                </a:extLst>
              </p:cNvPr>
              <p:cNvSpPr/>
              <p:nvPr/>
            </p:nvSpPr>
            <p:spPr bwMode="gray">
              <a:xfrm>
                <a:off x="12951751" y="792000"/>
                <a:ext cx="6232459" cy="4278833"/>
              </a:xfrm>
              <a:custGeom>
                <a:avLst/>
                <a:gdLst>
                  <a:gd name="connsiteX0" fmla="*/ 5539747 w 5692821"/>
                  <a:gd name="connsiteY0" fmla="*/ 3908351 h 3908351"/>
                  <a:gd name="connsiteX1" fmla="*/ 153075 w 5692821"/>
                  <a:gd name="connsiteY1" fmla="*/ 3908351 h 3908351"/>
                  <a:gd name="connsiteX2" fmla="*/ 0 w 5692821"/>
                  <a:gd name="connsiteY2" fmla="*/ 3755276 h 3908351"/>
                  <a:gd name="connsiteX3" fmla="*/ 0 w 5692821"/>
                  <a:gd name="connsiteY3" fmla="*/ 153075 h 3908351"/>
                  <a:gd name="connsiteX4" fmla="*/ 153075 w 5692821"/>
                  <a:gd name="connsiteY4" fmla="*/ 0 h 3908351"/>
                  <a:gd name="connsiteX5" fmla="*/ 5539747 w 5692821"/>
                  <a:gd name="connsiteY5" fmla="*/ 0 h 3908351"/>
                  <a:gd name="connsiteX6" fmla="*/ 5692822 w 5692821"/>
                  <a:gd name="connsiteY6" fmla="*/ 153075 h 3908351"/>
                  <a:gd name="connsiteX7" fmla="*/ 5692822 w 5692821"/>
                  <a:gd name="connsiteY7" fmla="*/ 3755330 h 3908351"/>
                  <a:gd name="connsiteX8" fmla="*/ 5539747 w 5692821"/>
                  <a:gd name="connsiteY8" fmla="*/ 3908351 h 390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92821" h="3908351">
                    <a:moveTo>
                      <a:pt x="5539747" y="3908351"/>
                    </a:moveTo>
                    <a:lnTo>
                      <a:pt x="153075" y="3908351"/>
                    </a:lnTo>
                    <a:cubicBezTo>
                      <a:pt x="68897" y="3908351"/>
                      <a:pt x="0" y="3839454"/>
                      <a:pt x="0" y="3755276"/>
                    </a:cubicBezTo>
                    <a:lnTo>
                      <a:pt x="0" y="153075"/>
                    </a:lnTo>
                    <a:cubicBezTo>
                      <a:pt x="0" y="68897"/>
                      <a:pt x="68897" y="0"/>
                      <a:pt x="153075" y="0"/>
                    </a:cubicBezTo>
                    <a:lnTo>
                      <a:pt x="5539747" y="0"/>
                    </a:lnTo>
                    <a:cubicBezTo>
                      <a:pt x="5623925" y="0"/>
                      <a:pt x="5692822" y="68897"/>
                      <a:pt x="5692822" y="153075"/>
                    </a:cubicBezTo>
                    <a:lnTo>
                      <a:pt x="5692822" y="3755330"/>
                    </a:lnTo>
                    <a:cubicBezTo>
                      <a:pt x="5692822" y="3839508"/>
                      <a:pt x="5623925" y="3908351"/>
                      <a:pt x="5539747" y="3908351"/>
                    </a:cubicBez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sp>
            <p:nvSpPr>
              <p:cNvPr id="16" name="Freihandform: Form 15">
                <a:extLst>
                  <a:ext uri="{FF2B5EF4-FFF2-40B4-BE49-F238E27FC236}">
                    <a16:creationId xmlns:a16="http://schemas.microsoft.com/office/drawing/2014/main" id="{A07F1674-6227-6FAA-CCD6-468458A32698}"/>
                  </a:ext>
                </a:extLst>
              </p:cNvPr>
              <p:cNvSpPr/>
              <p:nvPr/>
            </p:nvSpPr>
            <p:spPr bwMode="gray">
              <a:xfrm>
                <a:off x="12951808" y="792000"/>
                <a:ext cx="6232459" cy="3712115"/>
              </a:xfrm>
              <a:custGeom>
                <a:avLst/>
                <a:gdLst>
                  <a:gd name="connsiteX0" fmla="*/ 5692768 w 5692821"/>
                  <a:gd name="connsiteY0" fmla="*/ 3390704 h 3390703"/>
                  <a:gd name="connsiteX1" fmla="*/ 0 w 5692821"/>
                  <a:gd name="connsiteY1" fmla="*/ 3390704 h 3390703"/>
                  <a:gd name="connsiteX2" fmla="*/ 0 w 5692821"/>
                  <a:gd name="connsiteY2" fmla="*/ 153075 h 3390703"/>
                  <a:gd name="connsiteX3" fmla="*/ 153075 w 5692821"/>
                  <a:gd name="connsiteY3" fmla="*/ 0 h 3390703"/>
                  <a:gd name="connsiteX4" fmla="*/ 5539747 w 5692821"/>
                  <a:gd name="connsiteY4" fmla="*/ 0 h 3390703"/>
                  <a:gd name="connsiteX5" fmla="*/ 5692822 w 5692821"/>
                  <a:gd name="connsiteY5" fmla="*/ 153075 h 3390703"/>
                  <a:gd name="connsiteX6" fmla="*/ 5692822 w 5692821"/>
                  <a:gd name="connsiteY6" fmla="*/ 3390704 h 339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92821" h="3390703">
                    <a:moveTo>
                      <a:pt x="5692768" y="3390704"/>
                    </a:moveTo>
                    <a:lnTo>
                      <a:pt x="0" y="3390704"/>
                    </a:lnTo>
                    <a:lnTo>
                      <a:pt x="0" y="153075"/>
                    </a:lnTo>
                    <a:cubicBezTo>
                      <a:pt x="0" y="68897"/>
                      <a:pt x="68897" y="0"/>
                      <a:pt x="153075" y="0"/>
                    </a:cubicBezTo>
                    <a:lnTo>
                      <a:pt x="5539747" y="0"/>
                    </a:lnTo>
                    <a:cubicBezTo>
                      <a:pt x="5623925" y="0"/>
                      <a:pt x="5692822" y="68897"/>
                      <a:pt x="5692822" y="153075"/>
                    </a:cubicBezTo>
                    <a:lnTo>
                      <a:pt x="5692822" y="3390704"/>
                    </a:ln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sp>
            <p:nvSpPr>
              <p:cNvPr id="17" name="Freihandform: Form 16">
                <a:extLst>
                  <a:ext uri="{FF2B5EF4-FFF2-40B4-BE49-F238E27FC236}">
                    <a16:creationId xmlns:a16="http://schemas.microsoft.com/office/drawing/2014/main" id="{98A00107-BFFD-F213-01E5-6E0ECF9FFDF7}"/>
                  </a:ext>
                </a:extLst>
              </p:cNvPr>
              <p:cNvSpPr/>
              <p:nvPr/>
            </p:nvSpPr>
            <p:spPr bwMode="gray">
              <a:xfrm>
                <a:off x="13024223" y="842001"/>
                <a:ext cx="6209148" cy="4248399"/>
              </a:xfrm>
              <a:custGeom>
                <a:avLst/>
                <a:gdLst>
                  <a:gd name="connsiteX0" fmla="*/ 5144040 w 5235190"/>
                  <a:gd name="connsiteY0" fmla="*/ 3555367 h 3582001"/>
                  <a:gd name="connsiteX1" fmla="*/ 5093914 w 5235190"/>
                  <a:gd name="connsiteY1" fmla="*/ 3565556 h 3582001"/>
                  <a:gd name="connsiteX2" fmla="*/ 5093964 w 5235190"/>
                  <a:gd name="connsiteY2" fmla="*/ 3565556 h 3582001"/>
                  <a:gd name="connsiteX3" fmla="*/ 5138122 w 5235190"/>
                  <a:gd name="connsiteY3" fmla="*/ 3558411 h 3582001"/>
                  <a:gd name="connsiteX4" fmla="*/ 5151272 w 5235190"/>
                  <a:gd name="connsiteY4" fmla="*/ 0 h 3582001"/>
                  <a:gd name="connsiteX5" fmla="*/ 5186204 w 5235190"/>
                  <a:gd name="connsiteY5" fmla="*/ 34933 h 3582001"/>
                  <a:gd name="connsiteX6" fmla="*/ 5235190 w 5235190"/>
                  <a:gd name="connsiteY6" fmla="*/ 212236 h 3582001"/>
                  <a:gd name="connsiteX7" fmla="*/ 5235190 w 5235190"/>
                  <a:gd name="connsiteY7" fmla="*/ 3424281 h 3582001"/>
                  <a:gd name="connsiteX8" fmla="*/ 5193686 w 5235190"/>
                  <a:gd name="connsiteY8" fmla="*/ 3524051 h 3582001"/>
                  <a:gd name="connsiteX9" fmla="*/ 5157880 w 5235190"/>
                  <a:gd name="connsiteY9" fmla="*/ 3548246 h 3582001"/>
                  <a:gd name="connsiteX10" fmla="*/ 5176638 w 5235190"/>
                  <a:gd name="connsiteY10" fmla="*/ 3538596 h 3582001"/>
                  <a:gd name="connsiteX11" fmla="*/ 5176686 w 5235190"/>
                  <a:gd name="connsiteY11" fmla="*/ 3538596 h 3582001"/>
                  <a:gd name="connsiteX12" fmla="*/ 5074280 w 5235190"/>
                  <a:gd name="connsiteY12" fmla="*/ 3582001 h 3582001"/>
                  <a:gd name="connsiteX13" fmla="*/ 5031922 w 5235190"/>
                  <a:gd name="connsiteY13" fmla="*/ 3582001 h 3582001"/>
                  <a:gd name="connsiteX14" fmla="*/ 99864 w 5235190"/>
                  <a:gd name="connsiteY14" fmla="*/ 3582001 h 3582001"/>
                  <a:gd name="connsiteX15" fmla="*/ 0 w 5235190"/>
                  <a:gd name="connsiteY15" fmla="*/ 3540390 h 3582001"/>
                  <a:gd name="connsiteX16" fmla="*/ 50 w 5235190"/>
                  <a:gd name="connsiteY16" fmla="*/ 3540390 h 3582001"/>
                  <a:gd name="connsiteX17" fmla="*/ 80180 w 5235190"/>
                  <a:gd name="connsiteY17" fmla="*/ 3565556 h 3582001"/>
                  <a:gd name="connsiteX18" fmla="*/ 5051558 w 5235190"/>
                  <a:gd name="connsiteY18" fmla="*/ 3565556 h 3582001"/>
                  <a:gd name="connsiteX19" fmla="*/ 5192832 w 5235190"/>
                  <a:gd name="connsiteY19" fmla="*/ 3424281 h 3582001"/>
                  <a:gd name="connsiteX20" fmla="*/ 5192832 w 5235190"/>
                  <a:gd name="connsiteY20" fmla="*/ 100312 h 3582001"/>
                  <a:gd name="connsiteX21" fmla="*/ 5151272 w 5235190"/>
                  <a:gd name="connsiteY21" fmla="*/ 249 h 3582001"/>
                  <a:gd name="connsiteX0" fmla="*/ 5138122 w 5235190"/>
                  <a:gd name="connsiteY0" fmla="*/ 3558411 h 3582001"/>
                  <a:gd name="connsiteX1" fmla="*/ 5093914 w 5235190"/>
                  <a:gd name="connsiteY1" fmla="*/ 3565556 h 3582001"/>
                  <a:gd name="connsiteX2" fmla="*/ 5093964 w 5235190"/>
                  <a:gd name="connsiteY2" fmla="*/ 3565556 h 3582001"/>
                  <a:gd name="connsiteX3" fmla="*/ 5138122 w 5235190"/>
                  <a:gd name="connsiteY3" fmla="*/ 3558411 h 3582001"/>
                  <a:gd name="connsiteX4" fmla="*/ 5151272 w 5235190"/>
                  <a:gd name="connsiteY4" fmla="*/ 0 h 3582001"/>
                  <a:gd name="connsiteX5" fmla="*/ 5186204 w 5235190"/>
                  <a:gd name="connsiteY5" fmla="*/ 34933 h 3582001"/>
                  <a:gd name="connsiteX6" fmla="*/ 5235190 w 5235190"/>
                  <a:gd name="connsiteY6" fmla="*/ 212236 h 3582001"/>
                  <a:gd name="connsiteX7" fmla="*/ 5235190 w 5235190"/>
                  <a:gd name="connsiteY7" fmla="*/ 3424281 h 3582001"/>
                  <a:gd name="connsiteX8" fmla="*/ 5193686 w 5235190"/>
                  <a:gd name="connsiteY8" fmla="*/ 3524051 h 3582001"/>
                  <a:gd name="connsiteX9" fmla="*/ 5157880 w 5235190"/>
                  <a:gd name="connsiteY9" fmla="*/ 3548246 h 3582001"/>
                  <a:gd name="connsiteX10" fmla="*/ 5176638 w 5235190"/>
                  <a:gd name="connsiteY10" fmla="*/ 3538596 h 3582001"/>
                  <a:gd name="connsiteX11" fmla="*/ 5176686 w 5235190"/>
                  <a:gd name="connsiteY11" fmla="*/ 3538596 h 3582001"/>
                  <a:gd name="connsiteX12" fmla="*/ 5074280 w 5235190"/>
                  <a:gd name="connsiteY12" fmla="*/ 3582001 h 3582001"/>
                  <a:gd name="connsiteX13" fmla="*/ 5031922 w 5235190"/>
                  <a:gd name="connsiteY13" fmla="*/ 3582001 h 3582001"/>
                  <a:gd name="connsiteX14" fmla="*/ 99864 w 5235190"/>
                  <a:gd name="connsiteY14" fmla="*/ 3582001 h 3582001"/>
                  <a:gd name="connsiteX15" fmla="*/ 0 w 5235190"/>
                  <a:gd name="connsiteY15" fmla="*/ 3540390 h 3582001"/>
                  <a:gd name="connsiteX16" fmla="*/ 50 w 5235190"/>
                  <a:gd name="connsiteY16" fmla="*/ 3540390 h 3582001"/>
                  <a:gd name="connsiteX17" fmla="*/ 80180 w 5235190"/>
                  <a:gd name="connsiteY17" fmla="*/ 3565556 h 3582001"/>
                  <a:gd name="connsiteX18" fmla="*/ 5051558 w 5235190"/>
                  <a:gd name="connsiteY18" fmla="*/ 3565556 h 3582001"/>
                  <a:gd name="connsiteX19" fmla="*/ 5192832 w 5235190"/>
                  <a:gd name="connsiteY19" fmla="*/ 3424281 h 3582001"/>
                  <a:gd name="connsiteX20" fmla="*/ 5192832 w 5235190"/>
                  <a:gd name="connsiteY20" fmla="*/ 100312 h 3582001"/>
                  <a:gd name="connsiteX21" fmla="*/ 5151272 w 5235190"/>
                  <a:gd name="connsiteY21" fmla="*/ 249 h 3582001"/>
                  <a:gd name="connsiteX22" fmla="*/ 5151272 w 5235190"/>
                  <a:gd name="connsiteY22" fmla="*/ 0 h 3582001"/>
                  <a:gd name="connsiteX0" fmla="*/ 5093964 w 5235190"/>
                  <a:gd name="connsiteY0" fmla="*/ 3565556 h 3582001"/>
                  <a:gd name="connsiteX1" fmla="*/ 5093914 w 5235190"/>
                  <a:gd name="connsiteY1" fmla="*/ 3565556 h 3582001"/>
                  <a:gd name="connsiteX2" fmla="*/ 5093964 w 5235190"/>
                  <a:gd name="connsiteY2" fmla="*/ 3565556 h 3582001"/>
                  <a:gd name="connsiteX3" fmla="*/ 5151272 w 5235190"/>
                  <a:gd name="connsiteY3" fmla="*/ 0 h 3582001"/>
                  <a:gd name="connsiteX4" fmla="*/ 5186204 w 5235190"/>
                  <a:gd name="connsiteY4" fmla="*/ 34933 h 3582001"/>
                  <a:gd name="connsiteX5" fmla="*/ 5235190 w 5235190"/>
                  <a:gd name="connsiteY5" fmla="*/ 212236 h 3582001"/>
                  <a:gd name="connsiteX6" fmla="*/ 5235190 w 5235190"/>
                  <a:gd name="connsiteY6" fmla="*/ 3424281 h 3582001"/>
                  <a:gd name="connsiteX7" fmla="*/ 5193686 w 5235190"/>
                  <a:gd name="connsiteY7" fmla="*/ 3524051 h 3582001"/>
                  <a:gd name="connsiteX8" fmla="*/ 5157880 w 5235190"/>
                  <a:gd name="connsiteY8" fmla="*/ 3548246 h 3582001"/>
                  <a:gd name="connsiteX9" fmla="*/ 5176638 w 5235190"/>
                  <a:gd name="connsiteY9" fmla="*/ 3538596 h 3582001"/>
                  <a:gd name="connsiteX10" fmla="*/ 5176686 w 5235190"/>
                  <a:gd name="connsiteY10" fmla="*/ 3538596 h 3582001"/>
                  <a:gd name="connsiteX11" fmla="*/ 5074280 w 5235190"/>
                  <a:gd name="connsiteY11" fmla="*/ 3582001 h 3582001"/>
                  <a:gd name="connsiteX12" fmla="*/ 5031922 w 5235190"/>
                  <a:gd name="connsiteY12" fmla="*/ 3582001 h 3582001"/>
                  <a:gd name="connsiteX13" fmla="*/ 99864 w 5235190"/>
                  <a:gd name="connsiteY13" fmla="*/ 3582001 h 3582001"/>
                  <a:gd name="connsiteX14" fmla="*/ 0 w 5235190"/>
                  <a:gd name="connsiteY14" fmla="*/ 3540390 h 3582001"/>
                  <a:gd name="connsiteX15" fmla="*/ 50 w 5235190"/>
                  <a:gd name="connsiteY15" fmla="*/ 3540390 h 3582001"/>
                  <a:gd name="connsiteX16" fmla="*/ 80180 w 5235190"/>
                  <a:gd name="connsiteY16" fmla="*/ 3565556 h 3582001"/>
                  <a:gd name="connsiteX17" fmla="*/ 5051558 w 5235190"/>
                  <a:gd name="connsiteY17" fmla="*/ 3565556 h 3582001"/>
                  <a:gd name="connsiteX18" fmla="*/ 5192832 w 5235190"/>
                  <a:gd name="connsiteY18" fmla="*/ 3424281 h 3582001"/>
                  <a:gd name="connsiteX19" fmla="*/ 5192832 w 5235190"/>
                  <a:gd name="connsiteY19" fmla="*/ 100312 h 3582001"/>
                  <a:gd name="connsiteX20" fmla="*/ 5151272 w 5235190"/>
                  <a:gd name="connsiteY20" fmla="*/ 249 h 3582001"/>
                  <a:gd name="connsiteX21" fmla="*/ 5151272 w 5235190"/>
                  <a:gd name="connsiteY21" fmla="*/ 0 h 3582001"/>
                  <a:gd name="connsiteX0" fmla="*/ 5151272 w 5235190"/>
                  <a:gd name="connsiteY0" fmla="*/ 0 h 3582001"/>
                  <a:gd name="connsiteX1" fmla="*/ 5186204 w 5235190"/>
                  <a:gd name="connsiteY1" fmla="*/ 34933 h 3582001"/>
                  <a:gd name="connsiteX2" fmla="*/ 5235190 w 5235190"/>
                  <a:gd name="connsiteY2" fmla="*/ 212236 h 3582001"/>
                  <a:gd name="connsiteX3" fmla="*/ 5235190 w 5235190"/>
                  <a:gd name="connsiteY3" fmla="*/ 3424281 h 3582001"/>
                  <a:gd name="connsiteX4" fmla="*/ 5193686 w 5235190"/>
                  <a:gd name="connsiteY4" fmla="*/ 3524051 h 3582001"/>
                  <a:gd name="connsiteX5" fmla="*/ 5157880 w 5235190"/>
                  <a:gd name="connsiteY5" fmla="*/ 3548246 h 3582001"/>
                  <a:gd name="connsiteX6" fmla="*/ 5176638 w 5235190"/>
                  <a:gd name="connsiteY6" fmla="*/ 3538596 h 3582001"/>
                  <a:gd name="connsiteX7" fmla="*/ 5176686 w 5235190"/>
                  <a:gd name="connsiteY7" fmla="*/ 3538596 h 3582001"/>
                  <a:gd name="connsiteX8" fmla="*/ 5074280 w 5235190"/>
                  <a:gd name="connsiteY8" fmla="*/ 3582001 h 3582001"/>
                  <a:gd name="connsiteX9" fmla="*/ 5031922 w 5235190"/>
                  <a:gd name="connsiteY9" fmla="*/ 3582001 h 3582001"/>
                  <a:gd name="connsiteX10" fmla="*/ 99864 w 5235190"/>
                  <a:gd name="connsiteY10" fmla="*/ 3582001 h 3582001"/>
                  <a:gd name="connsiteX11" fmla="*/ 0 w 5235190"/>
                  <a:gd name="connsiteY11" fmla="*/ 3540390 h 3582001"/>
                  <a:gd name="connsiteX12" fmla="*/ 50 w 5235190"/>
                  <a:gd name="connsiteY12" fmla="*/ 3540390 h 3582001"/>
                  <a:gd name="connsiteX13" fmla="*/ 80180 w 5235190"/>
                  <a:gd name="connsiteY13" fmla="*/ 3565556 h 3582001"/>
                  <a:gd name="connsiteX14" fmla="*/ 5051558 w 5235190"/>
                  <a:gd name="connsiteY14" fmla="*/ 3565556 h 3582001"/>
                  <a:gd name="connsiteX15" fmla="*/ 5192832 w 5235190"/>
                  <a:gd name="connsiteY15" fmla="*/ 3424281 h 3582001"/>
                  <a:gd name="connsiteX16" fmla="*/ 5192832 w 5235190"/>
                  <a:gd name="connsiteY16" fmla="*/ 100312 h 3582001"/>
                  <a:gd name="connsiteX17" fmla="*/ 5151272 w 5235190"/>
                  <a:gd name="connsiteY17" fmla="*/ 249 h 3582001"/>
                  <a:gd name="connsiteX18" fmla="*/ 5151272 w 5235190"/>
                  <a:gd name="connsiteY18" fmla="*/ 0 h 3582001"/>
                  <a:gd name="connsiteX0" fmla="*/ 5151272 w 5235190"/>
                  <a:gd name="connsiteY0" fmla="*/ 0 h 3582001"/>
                  <a:gd name="connsiteX1" fmla="*/ 5186204 w 5235190"/>
                  <a:gd name="connsiteY1" fmla="*/ 34933 h 3582001"/>
                  <a:gd name="connsiteX2" fmla="*/ 5235190 w 5235190"/>
                  <a:gd name="connsiteY2" fmla="*/ 212236 h 3582001"/>
                  <a:gd name="connsiteX3" fmla="*/ 5235190 w 5235190"/>
                  <a:gd name="connsiteY3" fmla="*/ 3424281 h 3582001"/>
                  <a:gd name="connsiteX4" fmla="*/ 5193686 w 5235190"/>
                  <a:gd name="connsiteY4" fmla="*/ 3524051 h 3582001"/>
                  <a:gd name="connsiteX5" fmla="*/ 5176638 w 5235190"/>
                  <a:gd name="connsiteY5" fmla="*/ 3538596 h 3582001"/>
                  <a:gd name="connsiteX6" fmla="*/ 5176686 w 5235190"/>
                  <a:gd name="connsiteY6" fmla="*/ 3538596 h 3582001"/>
                  <a:gd name="connsiteX7" fmla="*/ 5074280 w 5235190"/>
                  <a:gd name="connsiteY7" fmla="*/ 3582001 h 3582001"/>
                  <a:gd name="connsiteX8" fmla="*/ 5031922 w 5235190"/>
                  <a:gd name="connsiteY8" fmla="*/ 3582001 h 3582001"/>
                  <a:gd name="connsiteX9" fmla="*/ 99864 w 5235190"/>
                  <a:gd name="connsiteY9" fmla="*/ 3582001 h 3582001"/>
                  <a:gd name="connsiteX10" fmla="*/ 0 w 5235190"/>
                  <a:gd name="connsiteY10" fmla="*/ 3540390 h 3582001"/>
                  <a:gd name="connsiteX11" fmla="*/ 50 w 5235190"/>
                  <a:gd name="connsiteY11" fmla="*/ 3540390 h 3582001"/>
                  <a:gd name="connsiteX12" fmla="*/ 80180 w 5235190"/>
                  <a:gd name="connsiteY12" fmla="*/ 3565556 h 3582001"/>
                  <a:gd name="connsiteX13" fmla="*/ 5051558 w 5235190"/>
                  <a:gd name="connsiteY13" fmla="*/ 3565556 h 3582001"/>
                  <a:gd name="connsiteX14" fmla="*/ 5192832 w 5235190"/>
                  <a:gd name="connsiteY14" fmla="*/ 3424281 h 3582001"/>
                  <a:gd name="connsiteX15" fmla="*/ 5192832 w 5235190"/>
                  <a:gd name="connsiteY15" fmla="*/ 100312 h 3582001"/>
                  <a:gd name="connsiteX16" fmla="*/ 5151272 w 5235190"/>
                  <a:gd name="connsiteY16" fmla="*/ 249 h 3582001"/>
                  <a:gd name="connsiteX17" fmla="*/ 5151272 w 5235190"/>
                  <a:gd name="connsiteY17" fmla="*/ 0 h 35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35190" h="3582001">
                    <a:moveTo>
                      <a:pt x="5151272" y="0"/>
                    </a:moveTo>
                    <a:lnTo>
                      <a:pt x="5186204" y="34933"/>
                    </a:lnTo>
                    <a:cubicBezTo>
                      <a:pt x="5231800" y="80379"/>
                      <a:pt x="5235190" y="143169"/>
                      <a:pt x="5235190" y="212236"/>
                    </a:cubicBezTo>
                    <a:lnTo>
                      <a:pt x="5235190" y="3424281"/>
                    </a:lnTo>
                    <a:cubicBezTo>
                      <a:pt x="5235190" y="3463125"/>
                      <a:pt x="5219294" y="3498444"/>
                      <a:pt x="5193686" y="3524051"/>
                    </a:cubicBezTo>
                    <a:lnTo>
                      <a:pt x="5176638" y="3538596"/>
                    </a:lnTo>
                    <a:lnTo>
                      <a:pt x="5176686" y="3538596"/>
                    </a:lnTo>
                    <a:cubicBezTo>
                      <a:pt x="5150874" y="3565157"/>
                      <a:pt x="5113998" y="3582001"/>
                      <a:pt x="5074280" y="3582001"/>
                    </a:cubicBezTo>
                    <a:lnTo>
                      <a:pt x="5031922" y="3582001"/>
                    </a:lnTo>
                    <a:lnTo>
                      <a:pt x="99864" y="3582001"/>
                    </a:lnTo>
                    <a:cubicBezTo>
                      <a:pt x="60995" y="3582001"/>
                      <a:pt x="25614" y="3566054"/>
                      <a:pt x="0" y="3540390"/>
                    </a:cubicBezTo>
                    <a:lnTo>
                      <a:pt x="50" y="3540390"/>
                    </a:lnTo>
                    <a:cubicBezTo>
                      <a:pt x="22873" y="3556237"/>
                      <a:pt x="50480" y="3565556"/>
                      <a:pt x="80180" y="3565556"/>
                    </a:cubicBezTo>
                    <a:lnTo>
                      <a:pt x="5051558" y="3565556"/>
                    </a:lnTo>
                    <a:cubicBezTo>
                      <a:pt x="5129246" y="3565556"/>
                      <a:pt x="5192832" y="3501970"/>
                      <a:pt x="5192832" y="3424281"/>
                    </a:cubicBezTo>
                    <a:lnTo>
                      <a:pt x="5192832" y="100312"/>
                    </a:lnTo>
                    <a:cubicBezTo>
                      <a:pt x="5192832" y="61344"/>
                      <a:pt x="5176886" y="25963"/>
                      <a:pt x="5151272" y="249"/>
                    </a:cubicBezTo>
                    <a:lnTo>
                      <a:pt x="5151272" y="0"/>
                    </a:lnTo>
                    <a:close/>
                  </a:path>
                </a:pathLst>
              </a:custGeom>
              <a:solidFill>
                <a:schemeClr val="bg1"/>
              </a:solidFill>
              <a:ln w="6350" cap="flat">
                <a:solidFill>
                  <a:schemeClr val="tx1"/>
                </a:solidFill>
                <a:prstDash val="solid"/>
                <a:miter/>
              </a:ln>
            </p:spPr>
            <p:txBody>
              <a:bodyPr lIns="0" tIns="0" rIns="0" bIns="0" rtlCol="0" anchor="ctr"/>
              <a:lstStyle/>
              <a:p>
                <a:endParaRPr lang="en-US" sz="1984" dirty="0"/>
              </a:p>
            </p:txBody>
          </p:sp>
        </p:grpSp>
      </p:grpSp>
      <p:sp>
        <p:nvSpPr>
          <p:cNvPr id="20" name="Bild">
            <a:extLst>
              <a:ext uri="{FF2B5EF4-FFF2-40B4-BE49-F238E27FC236}">
                <a16:creationId xmlns:a16="http://schemas.microsoft.com/office/drawing/2014/main" id="{9710E819-A1D8-B151-8783-5F6C9DF0217D}"/>
              </a:ext>
            </a:extLst>
          </p:cNvPr>
          <p:cNvSpPr>
            <a:spLocks noGrp="1" noChangeAspect="1"/>
          </p:cNvSpPr>
          <p:nvPr>
            <p:ph type="pic" sz="quarter" idx="16"/>
          </p:nvPr>
        </p:nvSpPr>
        <p:spPr bwMode="gray">
          <a:xfrm>
            <a:off x="4247555" y="1128682"/>
            <a:ext cx="5953500" cy="3333225"/>
          </a:xfrm>
          <a:solidFill>
            <a:schemeClr val="bg1">
              <a:lumMod val="85000"/>
            </a:schemeClr>
          </a:solidFill>
          <a:scene3d>
            <a:camera prst="perspectiveContrastingLeftFacing" fov="1920000">
              <a:rot lat="20640000" lon="2280000" rev="21360000"/>
            </a:camera>
            <a:lightRig rig="threePt" dir="t"/>
          </a:scene3d>
        </p:spPr>
        <p:txBody>
          <a:bodyPr vert="horz" wrap="square" lIns="144000" tIns="144000" rIns="144000" bIns="144000" rtlCol="0">
            <a:noAutofit/>
          </a:bodyPr>
          <a:lstStyle>
            <a:lvl1pPr>
              <a:defRPr lang="en-US"/>
            </a:lvl1pPr>
          </a:lstStyle>
          <a:p>
            <a:pPr lvl="0">
              <a:buNone/>
            </a:pPr>
            <a:r>
              <a:rPr lang="en-US"/>
              <a:t>Click icon to add picture</a:t>
            </a:r>
            <a:endParaRPr lang="en-US" dirty="0"/>
          </a:p>
        </p:txBody>
      </p:sp>
      <p:sp>
        <p:nvSpPr>
          <p:cNvPr id="2" name="Titel 1">
            <a:extLst>
              <a:ext uri="{FF2B5EF4-FFF2-40B4-BE49-F238E27FC236}">
                <a16:creationId xmlns:a16="http://schemas.microsoft.com/office/drawing/2014/main" id="{03ED3C02-C333-CEDA-E07E-4478CDFC6355}"/>
              </a:ext>
            </a:extLst>
          </p:cNvPr>
          <p:cNvSpPr>
            <a:spLocks noGrp="1"/>
          </p:cNvSpPr>
          <p:nvPr>
            <p:ph type="title"/>
          </p:nvPr>
        </p:nvSpPr>
        <p:spPr bwMode="gray">
          <a:xfrm>
            <a:off x="695325" y="477596"/>
            <a:ext cx="5400675" cy="324000"/>
          </a:xfrm>
        </p:spPr>
        <p:txBody>
          <a:body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559318CB-83E3-F25F-33DC-44DDBEBEFFB1}"/>
              </a:ext>
            </a:extLst>
          </p:cNvPr>
          <p:cNvSpPr>
            <a:spLocks noGrp="1"/>
          </p:cNvSpPr>
          <p:nvPr>
            <p:ph type="dt" sz="half" idx="10"/>
          </p:nvPr>
        </p:nvSpPr>
        <p:spPr bwMode="gray"/>
        <p:txBody>
          <a:bodyPr/>
          <a:lstStyle/>
          <a:p>
            <a:fld id="{4428F2D0-F84F-4F55-92E6-BFEF88258E80}" type="datetime1">
              <a:rPr lang="de-DE" smtClean="0"/>
              <a:t>30.11.2024</a:t>
            </a:fld>
            <a:endParaRPr lang="de-DE" dirty="0"/>
          </a:p>
        </p:txBody>
      </p:sp>
      <p:sp>
        <p:nvSpPr>
          <p:cNvPr id="4" name="Fußzeilenplatzhalter 3">
            <a:extLst>
              <a:ext uri="{FF2B5EF4-FFF2-40B4-BE49-F238E27FC236}">
                <a16:creationId xmlns:a16="http://schemas.microsoft.com/office/drawing/2014/main" id="{7EC32B3B-6EF9-FF7F-CD46-7B4AAC5A594A}"/>
              </a:ext>
            </a:extLst>
          </p:cNvPr>
          <p:cNvSpPr>
            <a:spLocks noGrp="1"/>
          </p:cNvSpPr>
          <p:nvPr>
            <p:ph type="ftr" sz="quarter" idx="11"/>
          </p:nvPr>
        </p:nvSpPr>
        <p:spPr bwMode="gray"/>
        <p:txBody>
          <a:bodyPr/>
          <a:lstStyle/>
          <a:p>
            <a:r>
              <a:rPr lang="de-DE" dirty="0"/>
              <a:t>Unternehmenspräsentation</a:t>
            </a:r>
          </a:p>
        </p:txBody>
      </p:sp>
      <p:sp>
        <p:nvSpPr>
          <p:cNvPr id="5" name="Foliennummernplatzhalter 4">
            <a:extLst>
              <a:ext uri="{FF2B5EF4-FFF2-40B4-BE49-F238E27FC236}">
                <a16:creationId xmlns:a16="http://schemas.microsoft.com/office/drawing/2014/main" id="{15BEB506-D959-87F7-AE39-613AA81A7D00}"/>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
        <p:nvSpPr>
          <p:cNvPr id="6" name="Inhaltsplatzhalter 9">
            <a:extLst>
              <a:ext uri="{FF2B5EF4-FFF2-40B4-BE49-F238E27FC236}">
                <a16:creationId xmlns:a16="http://schemas.microsoft.com/office/drawing/2014/main" id="{AA2EC146-E552-0753-679B-1C1369A98C39}"/>
              </a:ext>
            </a:extLst>
          </p:cNvPr>
          <p:cNvSpPr>
            <a:spLocks noGrp="1"/>
          </p:cNvSpPr>
          <p:nvPr>
            <p:ph sz="quarter" idx="17"/>
          </p:nvPr>
        </p:nvSpPr>
        <p:spPr bwMode="gray">
          <a:xfrm>
            <a:off x="695326" y="1844675"/>
            <a:ext cx="3600000"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878660621"/>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ockUp 4">
    <p:spTree>
      <p:nvGrpSpPr>
        <p:cNvPr id="1" name=""/>
        <p:cNvGrpSpPr/>
        <p:nvPr/>
      </p:nvGrpSpPr>
      <p:grpSpPr>
        <a:xfrm>
          <a:off x="0" y="0"/>
          <a:ext cx="0" cy="0"/>
          <a:chOff x="0" y="0"/>
          <a:chExt cx="0" cy="0"/>
        </a:xfrm>
      </p:grpSpPr>
      <p:cxnSp>
        <p:nvCxnSpPr>
          <p:cNvPr id="13" name="Linie 1">
            <a:extLst>
              <a:ext uri="{FF2B5EF4-FFF2-40B4-BE49-F238E27FC236}">
                <a16:creationId xmlns:a16="http://schemas.microsoft.com/office/drawing/2014/main" id="{1CC85F9F-690A-7CBB-7880-3AA8D96F471C}"/>
              </a:ext>
            </a:extLst>
          </p:cNvPr>
          <p:cNvCxnSpPr>
            <a:cxnSpLocks/>
          </p:cNvCxnSpPr>
          <p:nvPr userDrawn="1"/>
        </p:nvCxnSpPr>
        <p:spPr bwMode="gray">
          <a:xfrm flipV="1">
            <a:off x="1271464" y="6021639"/>
            <a:ext cx="9000000" cy="10432"/>
          </a:xfrm>
          <a:prstGeom prst="line">
            <a:avLst/>
          </a:prstGeom>
          <a:ln w="254000">
            <a:gradFill>
              <a:gsLst>
                <a:gs pos="0">
                  <a:schemeClr val="bg1">
                    <a:lumMod val="75000"/>
                    <a:alpha val="0"/>
                  </a:schemeClr>
                </a:gs>
                <a:gs pos="50000">
                  <a:schemeClr val="bg1">
                    <a:lumMod val="75000"/>
                  </a:schemeClr>
                </a:gs>
                <a:gs pos="100000">
                  <a:schemeClr val="bg1">
                    <a:lumMod val="95000"/>
                    <a:alpha val="0"/>
                  </a:schemeClr>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14" name="Linie 2">
            <a:extLst>
              <a:ext uri="{FF2B5EF4-FFF2-40B4-BE49-F238E27FC236}">
                <a16:creationId xmlns:a16="http://schemas.microsoft.com/office/drawing/2014/main" id="{B971164C-50F6-3DA9-EA49-C08A7D26332F}"/>
              </a:ext>
            </a:extLst>
          </p:cNvPr>
          <p:cNvCxnSpPr>
            <a:cxnSpLocks/>
          </p:cNvCxnSpPr>
          <p:nvPr userDrawn="1"/>
        </p:nvCxnSpPr>
        <p:spPr bwMode="gray">
          <a:xfrm>
            <a:off x="1271464" y="6032071"/>
            <a:ext cx="9000000" cy="26"/>
          </a:xfrm>
          <a:prstGeom prst="line">
            <a:avLst/>
          </a:prstGeom>
          <a:ln w="254000">
            <a:gradFill>
              <a:gsLst>
                <a:gs pos="75000">
                  <a:srgbClr val="FFFFFF">
                    <a:alpha val="0"/>
                  </a:srgbClr>
                </a:gs>
                <a:gs pos="25000">
                  <a:srgbClr val="FFFFFF">
                    <a:alpha val="0"/>
                  </a:srgbClr>
                </a:gs>
                <a:gs pos="0">
                  <a:schemeClr val="bg1"/>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3ED3C02-C333-CEDA-E07E-4478CDFC6355}"/>
              </a:ext>
            </a:extLst>
          </p:cNvPr>
          <p:cNvSpPr>
            <a:spLocks noGrp="1"/>
          </p:cNvSpPr>
          <p:nvPr>
            <p:ph type="title"/>
          </p:nvPr>
        </p:nvSpPr>
        <p:spPr bwMode="gray"/>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559318CB-83E3-F25F-33DC-44DDBEBEFFB1}"/>
              </a:ext>
            </a:extLst>
          </p:cNvPr>
          <p:cNvSpPr>
            <a:spLocks noGrp="1"/>
          </p:cNvSpPr>
          <p:nvPr>
            <p:ph type="dt" sz="half" idx="10"/>
          </p:nvPr>
        </p:nvSpPr>
        <p:spPr bwMode="gray"/>
        <p:txBody>
          <a:bodyPr/>
          <a:lstStyle/>
          <a:p>
            <a:fld id="{54FC3678-FC80-473F-97F7-DCD957E827F6}" type="datetime1">
              <a:rPr lang="de-DE" smtClean="0"/>
              <a:t>30.11.2024</a:t>
            </a:fld>
            <a:endParaRPr lang="de-DE" dirty="0"/>
          </a:p>
        </p:txBody>
      </p:sp>
      <p:sp>
        <p:nvSpPr>
          <p:cNvPr id="4" name="Fußzeilenplatzhalter 3">
            <a:extLst>
              <a:ext uri="{FF2B5EF4-FFF2-40B4-BE49-F238E27FC236}">
                <a16:creationId xmlns:a16="http://schemas.microsoft.com/office/drawing/2014/main" id="{7EC32B3B-6EF9-FF7F-CD46-7B4AAC5A594A}"/>
              </a:ext>
            </a:extLst>
          </p:cNvPr>
          <p:cNvSpPr>
            <a:spLocks noGrp="1"/>
          </p:cNvSpPr>
          <p:nvPr>
            <p:ph type="ftr" sz="quarter" idx="11"/>
          </p:nvPr>
        </p:nvSpPr>
        <p:spPr bwMode="gray">
          <a:xfrm>
            <a:off x="4296676" y="6498000"/>
            <a:ext cx="7200000" cy="180000"/>
          </a:xfrm>
        </p:spPr>
        <p:txBody>
          <a:bodyPr/>
          <a:lstStyle/>
          <a:p>
            <a:r>
              <a:rPr lang="de-DE" dirty="0"/>
              <a:t>Unternehmenspräsentation</a:t>
            </a:r>
          </a:p>
        </p:txBody>
      </p:sp>
      <p:sp>
        <p:nvSpPr>
          <p:cNvPr id="5" name="Foliennummernplatzhalter 4">
            <a:extLst>
              <a:ext uri="{FF2B5EF4-FFF2-40B4-BE49-F238E27FC236}">
                <a16:creationId xmlns:a16="http://schemas.microsoft.com/office/drawing/2014/main" id="{15BEB506-D959-87F7-AE39-613AA81A7D00}"/>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grpSp>
        <p:nvGrpSpPr>
          <p:cNvPr id="6" name="iPad">
            <a:extLst>
              <a:ext uri="{FF2B5EF4-FFF2-40B4-BE49-F238E27FC236}">
                <a16:creationId xmlns:a16="http://schemas.microsoft.com/office/drawing/2014/main" id="{1ED41563-6D96-9962-AC22-F6411E527746}"/>
              </a:ext>
            </a:extLst>
          </p:cNvPr>
          <p:cNvGrpSpPr>
            <a:grpSpLocks noChangeAspect="1"/>
          </p:cNvGrpSpPr>
          <p:nvPr userDrawn="1"/>
        </p:nvGrpSpPr>
        <p:grpSpPr bwMode="gray">
          <a:xfrm>
            <a:off x="3348358" y="2204864"/>
            <a:ext cx="5495285" cy="3820928"/>
            <a:chOff x="2277427" y="8504224"/>
            <a:chExt cx="7635049" cy="5309901"/>
          </a:xfrm>
          <a:effectLst/>
        </p:grpSpPr>
        <p:sp>
          <p:nvSpPr>
            <p:cNvPr id="7" name="Freihandform: Form 6">
              <a:extLst>
                <a:ext uri="{FF2B5EF4-FFF2-40B4-BE49-F238E27FC236}">
                  <a16:creationId xmlns:a16="http://schemas.microsoft.com/office/drawing/2014/main" id="{057A35AB-F16D-B2D9-8092-C9599608DC60}"/>
                </a:ext>
              </a:extLst>
            </p:cNvPr>
            <p:cNvSpPr/>
            <p:nvPr/>
          </p:nvSpPr>
          <p:spPr bwMode="gray">
            <a:xfrm>
              <a:off x="2277427" y="8504224"/>
              <a:ext cx="7635049" cy="5309901"/>
            </a:xfrm>
            <a:custGeom>
              <a:avLst/>
              <a:gdLst>
                <a:gd name="connsiteX0" fmla="*/ 7364921 w 7635049"/>
                <a:gd name="connsiteY0" fmla="*/ 5309902 h 5309901"/>
                <a:gd name="connsiteX1" fmla="*/ 270034 w 7635049"/>
                <a:gd name="connsiteY1" fmla="*/ 5309902 h 5309901"/>
                <a:gd name="connsiteX2" fmla="*/ 0 w 7635049"/>
                <a:gd name="connsiteY2" fmla="*/ 5039868 h 5309901"/>
                <a:gd name="connsiteX3" fmla="*/ 0 w 7635049"/>
                <a:gd name="connsiteY3" fmla="*/ 270034 h 5309901"/>
                <a:gd name="connsiteX4" fmla="*/ 270034 w 7635049"/>
                <a:gd name="connsiteY4" fmla="*/ 0 h 5309901"/>
                <a:gd name="connsiteX5" fmla="*/ 7365016 w 7635049"/>
                <a:gd name="connsiteY5" fmla="*/ 0 h 5309901"/>
                <a:gd name="connsiteX6" fmla="*/ 7635050 w 7635049"/>
                <a:gd name="connsiteY6" fmla="*/ 270034 h 5309901"/>
                <a:gd name="connsiteX7" fmla="*/ 7635050 w 7635049"/>
                <a:gd name="connsiteY7" fmla="*/ 5039963 h 5309901"/>
                <a:gd name="connsiteX8" fmla="*/ 7364921 w 7635049"/>
                <a:gd name="connsiteY8" fmla="*/ 5309902 h 530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5049" h="5309901">
                  <a:moveTo>
                    <a:pt x="7364921" y="5309902"/>
                  </a:moveTo>
                  <a:lnTo>
                    <a:pt x="270034" y="5309902"/>
                  </a:lnTo>
                  <a:cubicBezTo>
                    <a:pt x="121539" y="5309902"/>
                    <a:pt x="0" y="5188363"/>
                    <a:pt x="0" y="5039868"/>
                  </a:cubicBezTo>
                  <a:lnTo>
                    <a:pt x="0" y="270034"/>
                  </a:lnTo>
                  <a:cubicBezTo>
                    <a:pt x="0" y="121539"/>
                    <a:pt x="121539" y="0"/>
                    <a:pt x="270034" y="0"/>
                  </a:cubicBezTo>
                  <a:lnTo>
                    <a:pt x="7365016" y="0"/>
                  </a:lnTo>
                  <a:cubicBezTo>
                    <a:pt x="7513511" y="0"/>
                    <a:pt x="7635050" y="121539"/>
                    <a:pt x="7635050" y="270034"/>
                  </a:cubicBezTo>
                  <a:lnTo>
                    <a:pt x="7635050" y="5039963"/>
                  </a:lnTo>
                  <a:cubicBezTo>
                    <a:pt x="7634954" y="5188458"/>
                    <a:pt x="7513415" y="5309902"/>
                    <a:pt x="7364921" y="5309902"/>
                  </a:cubicBez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8" name="Freihandform: Form 7">
              <a:extLst>
                <a:ext uri="{FF2B5EF4-FFF2-40B4-BE49-F238E27FC236}">
                  <a16:creationId xmlns:a16="http://schemas.microsoft.com/office/drawing/2014/main" id="{02C6B940-42E7-E4C2-105A-E84C046C6CB0}"/>
                </a:ext>
              </a:extLst>
            </p:cNvPr>
            <p:cNvSpPr/>
            <p:nvPr/>
          </p:nvSpPr>
          <p:spPr bwMode="gray">
            <a:xfrm>
              <a:off x="2317908" y="8544705"/>
              <a:ext cx="7553896" cy="5228939"/>
            </a:xfrm>
            <a:custGeom>
              <a:avLst/>
              <a:gdLst>
                <a:gd name="connsiteX0" fmla="*/ 7311009 w 7553896"/>
                <a:gd name="connsiteY0" fmla="*/ 5228940 h 5228939"/>
                <a:gd name="connsiteX1" fmla="*/ 242983 w 7553896"/>
                <a:gd name="connsiteY1" fmla="*/ 5228940 h 5228939"/>
                <a:gd name="connsiteX2" fmla="*/ 0 w 7553896"/>
                <a:gd name="connsiteY2" fmla="*/ 4985957 h 5228939"/>
                <a:gd name="connsiteX3" fmla="*/ 0 w 7553896"/>
                <a:gd name="connsiteY3" fmla="*/ 242983 h 5228939"/>
                <a:gd name="connsiteX4" fmla="*/ 242983 w 7553896"/>
                <a:gd name="connsiteY4" fmla="*/ 0 h 5228939"/>
                <a:gd name="connsiteX5" fmla="*/ 7310914 w 7553896"/>
                <a:gd name="connsiteY5" fmla="*/ 0 h 5228939"/>
                <a:gd name="connsiteX6" fmla="*/ 7553896 w 7553896"/>
                <a:gd name="connsiteY6" fmla="*/ 242983 h 5228939"/>
                <a:gd name="connsiteX7" fmla="*/ 7553896 w 7553896"/>
                <a:gd name="connsiteY7" fmla="*/ 4985861 h 5228939"/>
                <a:gd name="connsiteX8" fmla="*/ 7311009 w 7553896"/>
                <a:gd name="connsiteY8" fmla="*/ 5228940 h 522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3896" h="5228939">
                  <a:moveTo>
                    <a:pt x="7311009" y="5228940"/>
                  </a:moveTo>
                  <a:lnTo>
                    <a:pt x="242983" y="5228940"/>
                  </a:lnTo>
                  <a:cubicBezTo>
                    <a:pt x="109347" y="5228940"/>
                    <a:pt x="0" y="5119593"/>
                    <a:pt x="0" y="4985957"/>
                  </a:cubicBezTo>
                  <a:lnTo>
                    <a:pt x="0" y="242983"/>
                  </a:lnTo>
                  <a:cubicBezTo>
                    <a:pt x="0" y="109347"/>
                    <a:pt x="109347" y="0"/>
                    <a:pt x="242983" y="0"/>
                  </a:cubicBezTo>
                  <a:lnTo>
                    <a:pt x="7310914" y="0"/>
                  </a:lnTo>
                  <a:cubicBezTo>
                    <a:pt x="7444550" y="0"/>
                    <a:pt x="7553896" y="109347"/>
                    <a:pt x="7553896" y="242983"/>
                  </a:cubicBezTo>
                  <a:lnTo>
                    <a:pt x="7553896" y="4985861"/>
                  </a:lnTo>
                  <a:cubicBezTo>
                    <a:pt x="7553992" y="5119593"/>
                    <a:pt x="7444645" y="5228940"/>
                    <a:pt x="7311009" y="5228940"/>
                  </a:cubicBezTo>
                  <a:close/>
                </a:path>
              </a:pathLst>
            </a:custGeom>
            <a:solidFill>
              <a:schemeClr val="bg1"/>
            </a:solidFill>
            <a:ln w="6350" cap="flat">
              <a:solidFill>
                <a:schemeClr val="tx1"/>
              </a:solidFill>
              <a:prstDash val="solid"/>
              <a:miter/>
            </a:ln>
          </p:spPr>
          <p:txBody>
            <a:bodyPr lIns="0" tIns="0" rIns="0" bIns="0" rtlCol="0" anchor="ctr"/>
            <a:lstStyle/>
            <a:p>
              <a:endParaRPr lang="de-DE" sz="1984" noProof="0" dirty="0"/>
            </a:p>
          </p:txBody>
        </p:sp>
        <p:sp>
          <p:nvSpPr>
            <p:cNvPr id="9" name="Freihandform: Form 8">
              <a:extLst>
                <a:ext uri="{FF2B5EF4-FFF2-40B4-BE49-F238E27FC236}">
                  <a16:creationId xmlns:a16="http://schemas.microsoft.com/office/drawing/2014/main" id="{5E17F036-37A8-53C9-2E31-21209441C220}"/>
                </a:ext>
              </a:extLst>
            </p:cNvPr>
            <p:cNvSpPr/>
            <p:nvPr/>
          </p:nvSpPr>
          <p:spPr bwMode="gray">
            <a:xfrm>
              <a:off x="2581275" y="11119694"/>
              <a:ext cx="79057" cy="79057"/>
            </a:xfrm>
            <a:custGeom>
              <a:avLst/>
              <a:gdLst>
                <a:gd name="connsiteX0" fmla="*/ 79057 w 79057"/>
                <a:gd name="connsiteY0" fmla="*/ 39529 h 79057"/>
                <a:gd name="connsiteX1" fmla="*/ 39529 w 79057"/>
                <a:gd name="connsiteY1" fmla="*/ 79057 h 79057"/>
                <a:gd name="connsiteX2" fmla="*/ 0 w 79057"/>
                <a:gd name="connsiteY2" fmla="*/ 39529 h 79057"/>
                <a:gd name="connsiteX3" fmla="*/ 39529 w 79057"/>
                <a:gd name="connsiteY3" fmla="*/ 0 h 79057"/>
                <a:gd name="connsiteX4" fmla="*/ 79057 w 79057"/>
                <a:gd name="connsiteY4" fmla="*/ 39529 h 79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 h="79057">
                  <a:moveTo>
                    <a:pt x="79057" y="39529"/>
                  </a:moveTo>
                  <a:cubicBezTo>
                    <a:pt x="79057" y="61360"/>
                    <a:pt x="61360" y="79057"/>
                    <a:pt x="39529" y="79057"/>
                  </a:cubicBezTo>
                  <a:cubicBezTo>
                    <a:pt x="17698" y="79057"/>
                    <a:pt x="0" y="61360"/>
                    <a:pt x="0" y="39529"/>
                  </a:cubicBezTo>
                  <a:cubicBezTo>
                    <a:pt x="0" y="17697"/>
                    <a:pt x="17698" y="0"/>
                    <a:pt x="39529" y="0"/>
                  </a:cubicBezTo>
                  <a:cubicBezTo>
                    <a:pt x="61360" y="0"/>
                    <a:pt x="79057" y="17698"/>
                    <a:pt x="79057" y="39529"/>
                  </a:cubicBezTo>
                  <a:close/>
                </a:path>
              </a:pathLst>
            </a:custGeom>
            <a:gradFill flip="none" rotWithShape="1">
              <a:gsLst>
                <a:gs pos="0">
                  <a:schemeClr val="tx1"/>
                </a:gs>
                <a:gs pos="100000">
                  <a:schemeClr val="tx1">
                    <a:alpha val="0"/>
                  </a:schemeClr>
                </a:gs>
              </a:gsLst>
              <a:path path="circle">
                <a:fillToRect l="50000" t="50000" r="50000" b="50000"/>
              </a:path>
              <a:tileRect/>
            </a:gradFill>
            <a:ln w="2164" cap="flat">
              <a:noFill/>
              <a:prstDash val="solid"/>
              <a:miter/>
            </a:ln>
          </p:spPr>
          <p:txBody>
            <a:bodyPr lIns="0" tIns="0" rIns="0" bIns="0" rtlCol="0" anchor="ctr"/>
            <a:lstStyle/>
            <a:p>
              <a:endParaRPr lang="de-DE" sz="1984" noProof="0" dirty="0"/>
            </a:p>
          </p:txBody>
        </p:sp>
        <p:sp>
          <p:nvSpPr>
            <p:cNvPr id="10" name="Freihandform: Form 9">
              <a:extLst>
                <a:ext uri="{FF2B5EF4-FFF2-40B4-BE49-F238E27FC236}">
                  <a16:creationId xmlns:a16="http://schemas.microsoft.com/office/drawing/2014/main" id="{D2AFF527-9978-334A-DAC3-1D878B4D72E0}"/>
                </a:ext>
              </a:extLst>
            </p:cNvPr>
            <p:cNvSpPr/>
            <p:nvPr/>
          </p:nvSpPr>
          <p:spPr bwMode="gray">
            <a:xfrm>
              <a:off x="9437370" y="10999107"/>
              <a:ext cx="323659" cy="323659"/>
            </a:xfrm>
            <a:custGeom>
              <a:avLst/>
              <a:gdLst>
                <a:gd name="connsiteX0" fmla="*/ 323660 w 323659"/>
                <a:gd name="connsiteY0" fmla="*/ 161830 h 323659"/>
                <a:gd name="connsiteX1" fmla="*/ 161830 w 323659"/>
                <a:gd name="connsiteY1" fmla="*/ 323659 h 323659"/>
                <a:gd name="connsiteX2" fmla="*/ 0 w 323659"/>
                <a:gd name="connsiteY2" fmla="*/ 161830 h 323659"/>
                <a:gd name="connsiteX3" fmla="*/ 161830 w 323659"/>
                <a:gd name="connsiteY3" fmla="*/ 0 h 323659"/>
                <a:gd name="connsiteX4" fmla="*/ 323660 w 323659"/>
                <a:gd name="connsiteY4" fmla="*/ 161830 h 32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23659">
                  <a:moveTo>
                    <a:pt x="323660" y="161830"/>
                  </a:moveTo>
                  <a:cubicBezTo>
                    <a:pt x="323660" y="251206"/>
                    <a:pt x="251206" y="323659"/>
                    <a:pt x="161830" y="323659"/>
                  </a:cubicBezTo>
                  <a:cubicBezTo>
                    <a:pt x="72454" y="323659"/>
                    <a:pt x="0" y="251206"/>
                    <a:pt x="0" y="161830"/>
                  </a:cubicBezTo>
                  <a:cubicBezTo>
                    <a:pt x="0" y="72453"/>
                    <a:pt x="72454" y="0"/>
                    <a:pt x="161830" y="0"/>
                  </a:cubicBezTo>
                  <a:cubicBezTo>
                    <a:pt x="251206" y="0"/>
                    <a:pt x="323660" y="72454"/>
                    <a:pt x="323660" y="161830"/>
                  </a:cubicBezTo>
                  <a:close/>
                </a:path>
              </a:pathLst>
            </a:custGeom>
            <a:solidFill>
              <a:schemeClr val="tx1"/>
            </a:solidFill>
            <a:ln w="2418" cap="flat">
              <a:noFill/>
              <a:prstDash val="solid"/>
              <a:miter/>
            </a:ln>
          </p:spPr>
          <p:txBody>
            <a:bodyPr lIns="0" tIns="0" rIns="0" bIns="0" rtlCol="0" anchor="ctr"/>
            <a:lstStyle/>
            <a:p>
              <a:endParaRPr lang="de-DE" sz="1984" noProof="0" dirty="0"/>
            </a:p>
          </p:txBody>
        </p:sp>
        <p:sp>
          <p:nvSpPr>
            <p:cNvPr id="11" name="Freihandform: Form 10">
              <a:extLst>
                <a:ext uri="{FF2B5EF4-FFF2-40B4-BE49-F238E27FC236}">
                  <a16:creationId xmlns:a16="http://schemas.microsoft.com/office/drawing/2014/main" id="{3009A471-EAB9-7FA9-AC4B-A45FA264A068}"/>
                </a:ext>
              </a:extLst>
            </p:cNvPr>
            <p:cNvSpPr/>
            <p:nvPr/>
          </p:nvSpPr>
          <p:spPr bwMode="gray">
            <a:xfrm>
              <a:off x="9463563" y="11025301"/>
              <a:ext cx="271272" cy="271272"/>
            </a:xfrm>
            <a:custGeom>
              <a:avLst/>
              <a:gdLst>
                <a:gd name="connsiteX0" fmla="*/ 271272 w 271272"/>
                <a:gd name="connsiteY0" fmla="*/ 135636 h 271272"/>
                <a:gd name="connsiteX1" fmla="*/ 135636 w 271272"/>
                <a:gd name="connsiteY1" fmla="*/ 271272 h 271272"/>
                <a:gd name="connsiteX2" fmla="*/ 0 w 271272"/>
                <a:gd name="connsiteY2" fmla="*/ 135636 h 271272"/>
                <a:gd name="connsiteX3" fmla="*/ 135636 w 271272"/>
                <a:gd name="connsiteY3" fmla="*/ 0 h 271272"/>
                <a:gd name="connsiteX4" fmla="*/ 271272 w 271272"/>
                <a:gd name="connsiteY4" fmla="*/ 135636 h 27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72" h="271272">
                  <a:moveTo>
                    <a:pt x="271272" y="135636"/>
                  </a:moveTo>
                  <a:cubicBezTo>
                    <a:pt x="271272" y="210546"/>
                    <a:pt x="210546" y="271272"/>
                    <a:pt x="135636" y="271272"/>
                  </a:cubicBezTo>
                  <a:cubicBezTo>
                    <a:pt x="60726" y="271272"/>
                    <a:pt x="0" y="210546"/>
                    <a:pt x="0" y="135636"/>
                  </a:cubicBezTo>
                  <a:cubicBezTo>
                    <a:pt x="0" y="60726"/>
                    <a:pt x="60727" y="0"/>
                    <a:pt x="135636" y="0"/>
                  </a:cubicBezTo>
                  <a:cubicBezTo>
                    <a:pt x="210546" y="0"/>
                    <a:pt x="271272" y="60726"/>
                    <a:pt x="271272" y="135636"/>
                  </a:cubicBezTo>
                  <a:close/>
                </a:path>
              </a:pathLst>
            </a:custGeom>
            <a:solidFill>
              <a:schemeClr val="bg1"/>
            </a:solidFill>
            <a:ln w="2028" cap="flat">
              <a:noFill/>
              <a:prstDash val="solid"/>
              <a:miter/>
            </a:ln>
          </p:spPr>
          <p:txBody>
            <a:bodyPr lIns="0" tIns="0" rIns="0" bIns="0" rtlCol="0" anchor="ctr"/>
            <a:lstStyle/>
            <a:p>
              <a:endParaRPr lang="de-DE" sz="1984" noProof="0" dirty="0"/>
            </a:p>
          </p:txBody>
        </p:sp>
      </p:grpSp>
      <p:sp>
        <p:nvSpPr>
          <p:cNvPr id="12" name="Bild 3">
            <a:extLst>
              <a:ext uri="{FF2B5EF4-FFF2-40B4-BE49-F238E27FC236}">
                <a16:creationId xmlns:a16="http://schemas.microsoft.com/office/drawing/2014/main" id="{2E548268-0CA6-4599-A394-CD8CE6701903}"/>
              </a:ext>
            </a:extLst>
          </p:cNvPr>
          <p:cNvSpPr>
            <a:spLocks noGrp="1" noChangeAspect="1"/>
          </p:cNvSpPr>
          <p:nvPr>
            <p:ph type="pic" sz="quarter" idx="16"/>
          </p:nvPr>
        </p:nvSpPr>
        <p:spPr bwMode="gray">
          <a:xfrm>
            <a:off x="3694342" y="2347641"/>
            <a:ext cx="4704690" cy="3535375"/>
          </a:xfrm>
          <a:solidFill>
            <a:schemeClr val="bg1">
              <a:lumMod val="85000"/>
            </a:schemeClr>
          </a:solidFill>
        </p:spPr>
        <p:txBody>
          <a:bodyPr vert="horz" lIns="144000" tIns="144000" rIns="144000" bIns="144000" rtlCol="0">
            <a:noAutofit/>
          </a:bodyPr>
          <a:lstStyle>
            <a:lvl1pPr marL="0" indent="0" algn="l">
              <a:buFont typeface="Arial" panose="020B0604020202020204" pitchFamily="34" charset="0"/>
              <a:buNone/>
              <a:defRPr lang="en-US"/>
            </a:lvl1pPr>
          </a:lstStyle>
          <a:p>
            <a:pPr marL="283474" lvl="0" indent="-283474"/>
            <a:r>
              <a:rPr lang="en-US" noProof="0"/>
              <a:t>Click icon to add picture</a:t>
            </a:r>
            <a:endParaRPr lang="de-DE" noProof="0" dirty="0"/>
          </a:p>
        </p:txBody>
      </p:sp>
      <p:sp>
        <p:nvSpPr>
          <p:cNvPr id="15" name="Inhaltsplatzhalter 9">
            <a:extLst>
              <a:ext uri="{FF2B5EF4-FFF2-40B4-BE49-F238E27FC236}">
                <a16:creationId xmlns:a16="http://schemas.microsoft.com/office/drawing/2014/main" id="{2D8DED14-E89A-94F8-10E2-437349E0352B}"/>
              </a:ext>
            </a:extLst>
          </p:cNvPr>
          <p:cNvSpPr>
            <a:spLocks noGrp="1"/>
          </p:cNvSpPr>
          <p:nvPr>
            <p:ph sz="quarter" idx="18"/>
          </p:nvPr>
        </p:nvSpPr>
        <p:spPr bwMode="gray">
          <a:xfrm>
            <a:off x="9336676" y="1844675"/>
            <a:ext cx="2160000"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6" name="Inhaltsplatzhalter 9">
            <a:extLst>
              <a:ext uri="{FF2B5EF4-FFF2-40B4-BE49-F238E27FC236}">
                <a16:creationId xmlns:a16="http://schemas.microsoft.com/office/drawing/2014/main" id="{A7875067-2867-7FC4-2861-03E86644B56B}"/>
              </a:ext>
            </a:extLst>
          </p:cNvPr>
          <p:cNvSpPr>
            <a:spLocks noGrp="1"/>
          </p:cNvSpPr>
          <p:nvPr>
            <p:ph sz="quarter" idx="19"/>
          </p:nvPr>
        </p:nvSpPr>
        <p:spPr bwMode="gray">
          <a:xfrm>
            <a:off x="695326" y="1844675"/>
            <a:ext cx="2160000"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86640472"/>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ockUp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ED3C02-C333-CEDA-E07E-4478CDFC6355}"/>
              </a:ext>
            </a:extLst>
          </p:cNvPr>
          <p:cNvSpPr>
            <a:spLocks noGrp="1"/>
          </p:cNvSpPr>
          <p:nvPr>
            <p:ph type="title"/>
          </p:nvPr>
        </p:nvSpPr>
        <p:spPr bwMode="gray"/>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559318CB-83E3-F25F-33DC-44DDBEBEFFB1}"/>
              </a:ext>
            </a:extLst>
          </p:cNvPr>
          <p:cNvSpPr>
            <a:spLocks noGrp="1"/>
          </p:cNvSpPr>
          <p:nvPr>
            <p:ph type="dt" sz="half" idx="10"/>
          </p:nvPr>
        </p:nvSpPr>
        <p:spPr bwMode="gray"/>
        <p:txBody>
          <a:bodyPr/>
          <a:lstStyle/>
          <a:p>
            <a:fld id="{85CE8D54-48E1-4249-A0E2-39514FE59C7D}" type="datetime1">
              <a:rPr lang="de-DE" smtClean="0"/>
              <a:t>30.11.2024</a:t>
            </a:fld>
            <a:endParaRPr lang="de-DE" dirty="0"/>
          </a:p>
        </p:txBody>
      </p:sp>
      <p:sp>
        <p:nvSpPr>
          <p:cNvPr id="4" name="Fußzeilenplatzhalter 3">
            <a:extLst>
              <a:ext uri="{FF2B5EF4-FFF2-40B4-BE49-F238E27FC236}">
                <a16:creationId xmlns:a16="http://schemas.microsoft.com/office/drawing/2014/main" id="{7EC32B3B-6EF9-FF7F-CD46-7B4AAC5A594A}"/>
              </a:ext>
            </a:extLst>
          </p:cNvPr>
          <p:cNvSpPr>
            <a:spLocks noGrp="1"/>
          </p:cNvSpPr>
          <p:nvPr>
            <p:ph type="ftr" sz="quarter" idx="11"/>
          </p:nvPr>
        </p:nvSpPr>
        <p:spPr bwMode="gray">
          <a:xfrm>
            <a:off x="4296676" y="6498000"/>
            <a:ext cx="7200000" cy="180000"/>
          </a:xfrm>
        </p:spPr>
        <p:txBody>
          <a:bodyPr/>
          <a:lstStyle/>
          <a:p>
            <a:r>
              <a:rPr lang="de-DE" dirty="0"/>
              <a:t>Unternehmenspräsentation</a:t>
            </a:r>
          </a:p>
        </p:txBody>
      </p:sp>
      <p:sp>
        <p:nvSpPr>
          <p:cNvPr id="5" name="Foliennummernplatzhalter 4">
            <a:extLst>
              <a:ext uri="{FF2B5EF4-FFF2-40B4-BE49-F238E27FC236}">
                <a16:creationId xmlns:a16="http://schemas.microsoft.com/office/drawing/2014/main" id="{15BEB506-D959-87F7-AE39-613AA81A7D00}"/>
              </a:ext>
            </a:extLst>
          </p:cNvPr>
          <p:cNvSpPr>
            <a:spLocks noGrp="1"/>
          </p:cNvSpPr>
          <p:nvPr>
            <p:ph type="sldNum" sz="quarter" idx="12"/>
          </p:nvPr>
        </p:nvSpPr>
        <p:spPr bwMode="gray"/>
        <p:txBody>
          <a:bodyPr/>
          <a:lstStyle/>
          <a:p>
            <a:fld id="{1A2CFED3-8F6A-4617-95E5-25D21BE72BEB}" type="slidenum">
              <a:rPr lang="de-DE" smtClean="0"/>
              <a:pPr/>
              <a:t>‹#›</a:t>
            </a:fld>
            <a:endParaRPr lang="de-DE" dirty="0"/>
          </a:p>
        </p:txBody>
      </p:sp>
      <p:sp>
        <p:nvSpPr>
          <p:cNvPr id="14" name="Freihandform: Form 13">
            <a:extLst>
              <a:ext uri="{FF2B5EF4-FFF2-40B4-BE49-F238E27FC236}">
                <a16:creationId xmlns:a16="http://schemas.microsoft.com/office/drawing/2014/main" id="{587601FB-B538-AB43-D62B-6CC06D82EF4B}"/>
              </a:ext>
            </a:extLst>
          </p:cNvPr>
          <p:cNvSpPr>
            <a:spLocks noChangeAspect="1"/>
          </p:cNvSpPr>
          <p:nvPr/>
        </p:nvSpPr>
        <p:spPr bwMode="gray">
          <a:xfrm>
            <a:off x="4987059" y="1417831"/>
            <a:ext cx="2217882" cy="4651578"/>
          </a:xfrm>
          <a:custGeom>
            <a:avLst/>
            <a:gdLst>
              <a:gd name="connsiteX0" fmla="*/ 2826260 w 3268604"/>
              <a:gd name="connsiteY0" fmla="*/ 6856786 h 6856786"/>
              <a:gd name="connsiteX1" fmla="*/ 442345 w 3268604"/>
              <a:gd name="connsiteY1" fmla="*/ 6856786 h 6856786"/>
              <a:gd name="connsiteX2" fmla="*/ 0 w 3268604"/>
              <a:gd name="connsiteY2" fmla="*/ 6414441 h 6856786"/>
              <a:gd name="connsiteX3" fmla="*/ 0 w 3268604"/>
              <a:gd name="connsiteY3" fmla="*/ 442345 h 6856786"/>
              <a:gd name="connsiteX4" fmla="*/ 442345 w 3268604"/>
              <a:gd name="connsiteY4" fmla="*/ 0 h 6856786"/>
              <a:gd name="connsiteX5" fmla="*/ 2826260 w 3268604"/>
              <a:gd name="connsiteY5" fmla="*/ 0 h 6856786"/>
              <a:gd name="connsiteX6" fmla="*/ 3268605 w 3268604"/>
              <a:gd name="connsiteY6" fmla="*/ 442345 h 6856786"/>
              <a:gd name="connsiteX7" fmla="*/ 3268605 w 3268604"/>
              <a:gd name="connsiteY7" fmla="*/ 6414441 h 6856786"/>
              <a:gd name="connsiteX8" fmla="*/ 2826260 w 3268604"/>
              <a:gd name="connsiteY8" fmla="*/ 6856786 h 685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8604" h="6856786">
                <a:moveTo>
                  <a:pt x="2826260" y="6856786"/>
                </a:moveTo>
                <a:lnTo>
                  <a:pt x="442345" y="6856786"/>
                </a:lnTo>
                <a:cubicBezTo>
                  <a:pt x="199064" y="6856786"/>
                  <a:pt x="0" y="6657723"/>
                  <a:pt x="0" y="6414441"/>
                </a:cubicBezTo>
                <a:lnTo>
                  <a:pt x="0" y="442345"/>
                </a:lnTo>
                <a:cubicBezTo>
                  <a:pt x="0" y="199064"/>
                  <a:pt x="199064" y="0"/>
                  <a:pt x="442345" y="0"/>
                </a:cubicBezTo>
                <a:lnTo>
                  <a:pt x="2826260" y="0"/>
                </a:lnTo>
                <a:cubicBezTo>
                  <a:pt x="3069541" y="0"/>
                  <a:pt x="3268605" y="199064"/>
                  <a:pt x="3268605" y="442345"/>
                </a:cubicBezTo>
                <a:lnTo>
                  <a:pt x="3268605" y="6414441"/>
                </a:lnTo>
                <a:cubicBezTo>
                  <a:pt x="3268692" y="6657723"/>
                  <a:pt x="3069628" y="6856786"/>
                  <a:pt x="2826260" y="6856786"/>
                </a:cubicBezTo>
                <a:close/>
              </a:path>
            </a:pathLst>
          </a:custGeom>
          <a:solidFill>
            <a:schemeClr val="bg1"/>
          </a:solidFill>
          <a:ln w="6350" cap="flat">
            <a:solidFill>
              <a:schemeClr val="tx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DE" sz="1984" noProof="0" dirty="0"/>
          </a:p>
        </p:txBody>
      </p:sp>
      <p:sp>
        <p:nvSpPr>
          <p:cNvPr id="15" name="Freihandform: Form 14">
            <a:extLst>
              <a:ext uri="{FF2B5EF4-FFF2-40B4-BE49-F238E27FC236}">
                <a16:creationId xmlns:a16="http://schemas.microsoft.com/office/drawing/2014/main" id="{02006745-C619-697D-C7FF-B3F3662AAAB3}"/>
              </a:ext>
            </a:extLst>
          </p:cNvPr>
          <p:cNvSpPr>
            <a:spLocks noChangeAspect="1"/>
          </p:cNvSpPr>
          <p:nvPr/>
        </p:nvSpPr>
        <p:spPr bwMode="gray">
          <a:xfrm>
            <a:off x="5020387" y="1451181"/>
            <a:ext cx="2151227" cy="4584878"/>
          </a:xfrm>
          <a:custGeom>
            <a:avLst/>
            <a:gdLst>
              <a:gd name="connsiteX0" fmla="*/ 2764876 w 3170373"/>
              <a:gd name="connsiteY0" fmla="*/ 6758468 h 6758468"/>
              <a:gd name="connsiteX1" fmla="*/ 405498 w 3170373"/>
              <a:gd name="connsiteY1" fmla="*/ 6758468 h 6758468"/>
              <a:gd name="connsiteX2" fmla="*/ 0 w 3170373"/>
              <a:gd name="connsiteY2" fmla="*/ 6352970 h 6758468"/>
              <a:gd name="connsiteX3" fmla="*/ 0 w 3170373"/>
              <a:gd name="connsiteY3" fmla="*/ 405498 h 6758468"/>
              <a:gd name="connsiteX4" fmla="*/ 405498 w 3170373"/>
              <a:gd name="connsiteY4" fmla="*/ 0 h 6758468"/>
              <a:gd name="connsiteX5" fmla="*/ 2764876 w 3170373"/>
              <a:gd name="connsiteY5" fmla="*/ 0 h 6758468"/>
              <a:gd name="connsiteX6" fmla="*/ 3170373 w 3170373"/>
              <a:gd name="connsiteY6" fmla="*/ 405498 h 6758468"/>
              <a:gd name="connsiteX7" fmla="*/ 3170373 w 3170373"/>
              <a:gd name="connsiteY7" fmla="*/ 6352970 h 6758468"/>
              <a:gd name="connsiteX8" fmla="*/ 2764876 w 3170373"/>
              <a:gd name="connsiteY8" fmla="*/ 6758468 h 675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0373" h="6758468">
                <a:moveTo>
                  <a:pt x="2764876" y="6758468"/>
                </a:moveTo>
                <a:lnTo>
                  <a:pt x="405498" y="6758468"/>
                </a:lnTo>
                <a:cubicBezTo>
                  <a:pt x="182504" y="6758468"/>
                  <a:pt x="0" y="6575964"/>
                  <a:pt x="0" y="6352970"/>
                </a:cubicBezTo>
                <a:lnTo>
                  <a:pt x="0" y="405498"/>
                </a:lnTo>
                <a:cubicBezTo>
                  <a:pt x="0" y="182504"/>
                  <a:pt x="182504" y="0"/>
                  <a:pt x="405498" y="0"/>
                </a:cubicBezTo>
                <a:lnTo>
                  <a:pt x="2764876" y="0"/>
                </a:lnTo>
                <a:cubicBezTo>
                  <a:pt x="2987869" y="0"/>
                  <a:pt x="3170373" y="182504"/>
                  <a:pt x="3170373" y="405498"/>
                </a:cubicBezTo>
                <a:lnTo>
                  <a:pt x="3170373" y="6352970"/>
                </a:lnTo>
                <a:cubicBezTo>
                  <a:pt x="3170373" y="6575964"/>
                  <a:pt x="2987869" y="6758468"/>
                  <a:pt x="2764876" y="6758468"/>
                </a:cubicBezTo>
                <a:close/>
              </a:path>
            </a:pathLst>
          </a:custGeom>
          <a:solidFill>
            <a:schemeClr val="tx1"/>
          </a:solidFill>
          <a:ln w="2214" cap="flat">
            <a:noFill/>
            <a:prstDash val="solid"/>
            <a:miter/>
          </a:ln>
        </p:spPr>
        <p:txBody>
          <a:bodyPr lIns="0" tIns="0" rIns="0" bIns="0" rtlCol="0" anchor="ctr"/>
          <a:lstStyle/>
          <a:p>
            <a:endParaRPr lang="de-DE" sz="1984" noProof="0" dirty="0"/>
          </a:p>
        </p:txBody>
      </p:sp>
      <p:sp>
        <p:nvSpPr>
          <p:cNvPr id="16" name="Freihandform: Form 15">
            <a:extLst>
              <a:ext uri="{FF2B5EF4-FFF2-40B4-BE49-F238E27FC236}">
                <a16:creationId xmlns:a16="http://schemas.microsoft.com/office/drawing/2014/main" id="{5E0AA7E8-6951-35F5-3B1B-CE7609AD04E2}"/>
              </a:ext>
            </a:extLst>
          </p:cNvPr>
          <p:cNvSpPr>
            <a:spLocks noChangeAspect="1"/>
          </p:cNvSpPr>
          <p:nvPr/>
        </p:nvSpPr>
        <p:spPr bwMode="gray">
          <a:xfrm>
            <a:off x="5053742" y="1484500"/>
            <a:ext cx="2084516" cy="4518241"/>
          </a:xfrm>
          <a:custGeom>
            <a:avLst/>
            <a:gdLst>
              <a:gd name="connsiteX0" fmla="*/ 2703405 w 3072055"/>
              <a:gd name="connsiteY0" fmla="*/ 6660237 h 6660236"/>
              <a:gd name="connsiteX1" fmla="*/ 368650 w 3072055"/>
              <a:gd name="connsiteY1" fmla="*/ 6660237 h 6660236"/>
              <a:gd name="connsiteX2" fmla="*/ 0 w 3072055"/>
              <a:gd name="connsiteY2" fmla="*/ 6291587 h 6660236"/>
              <a:gd name="connsiteX3" fmla="*/ 0 w 3072055"/>
              <a:gd name="connsiteY3" fmla="*/ 368650 h 6660236"/>
              <a:gd name="connsiteX4" fmla="*/ 368650 w 3072055"/>
              <a:gd name="connsiteY4" fmla="*/ 0 h 6660236"/>
              <a:gd name="connsiteX5" fmla="*/ 2703405 w 3072055"/>
              <a:gd name="connsiteY5" fmla="*/ 0 h 6660236"/>
              <a:gd name="connsiteX6" fmla="*/ 3072055 w 3072055"/>
              <a:gd name="connsiteY6" fmla="*/ 368650 h 6660236"/>
              <a:gd name="connsiteX7" fmla="*/ 3072055 w 3072055"/>
              <a:gd name="connsiteY7" fmla="*/ 6291587 h 6660236"/>
              <a:gd name="connsiteX8" fmla="*/ 2703405 w 3072055"/>
              <a:gd name="connsiteY8" fmla="*/ 6660237 h 666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2055" h="6660236">
                <a:moveTo>
                  <a:pt x="2703405" y="6660237"/>
                </a:moveTo>
                <a:lnTo>
                  <a:pt x="368650" y="6660237"/>
                </a:lnTo>
                <a:cubicBezTo>
                  <a:pt x="165858" y="6660237"/>
                  <a:pt x="0" y="6494379"/>
                  <a:pt x="0" y="6291587"/>
                </a:cubicBezTo>
                <a:lnTo>
                  <a:pt x="0" y="368650"/>
                </a:lnTo>
                <a:cubicBezTo>
                  <a:pt x="0" y="165858"/>
                  <a:pt x="165858" y="0"/>
                  <a:pt x="368650" y="0"/>
                </a:cubicBezTo>
                <a:lnTo>
                  <a:pt x="2703405" y="0"/>
                </a:lnTo>
                <a:cubicBezTo>
                  <a:pt x="2906197" y="0"/>
                  <a:pt x="3072055" y="165858"/>
                  <a:pt x="3072055" y="368650"/>
                </a:cubicBezTo>
                <a:lnTo>
                  <a:pt x="3072055" y="6291587"/>
                </a:lnTo>
                <a:cubicBezTo>
                  <a:pt x="3072055" y="6494379"/>
                  <a:pt x="2906197" y="6660237"/>
                  <a:pt x="2703405" y="6660237"/>
                </a:cubicBezTo>
                <a:close/>
              </a:path>
            </a:pathLst>
          </a:custGeom>
          <a:gradFill>
            <a:gsLst>
              <a:gs pos="0">
                <a:schemeClr val="bg1">
                  <a:lumMod val="75000"/>
                  <a:alpha val="60000"/>
                </a:schemeClr>
              </a:gs>
              <a:gs pos="100000">
                <a:schemeClr val="bg1">
                  <a:lumMod val="75000"/>
                </a:schemeClr>
              </a:gs>
            </a:gsLst>
            <a:lin ang="5400000" scaled="0"/>
          </a:gradFill>
          <a:ln w="2164"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e-DE" sz="1050" noProof="0" dirty="0">
                <a:solidFill>
                  <a:schemeClr val="bg2"/>
                </a:solidFill>
              </a:rPr>
              <a:t>Platz-halter-text</a:t>
            </a:r>
          </a:p>
        </p:txBody>
      </p:sp>
      <p:sp>
        <p:nvSpPr>
          <p:cNvPr id="24" name="Bild 4">
            <a:extLst>
              <a:ext uri="{FF2B5EF4-FFF2-40B4-BE49-F238E27FC236}">
                <a16:creationId xmlns:a16="http://schemas.microsoft.com/office/drawing/2014/main" id="{34953E64-47DA-1EEB-E628-4D2230EF9891}"/>
              </a:ext>
            </a:extLst>
          </p:cNvPr>
          <p:cNvSpPr>
            <a:spLocks noGrp="1" noChangeAspect="1"/>
          </p:cNvSpPr>
          <p:nvPr userDrawn="1">
            <p:ph type="pic" sz="quarter" idx="17"/>
          </p:nvPr>
        </p:nvSpPr>
        <p:spPr bwMode="gray">
          <a:xfrm>
            <a:off x="5053742" y="1484500"/>
            <a:ext cx="2084516" cy="4518241"/>
          </a:xfrm>
          <a:custGeom>
            <a:avLst/>
            <a:gdLst>
              <a:gd name="connsiteX0" fmla="*/ 74517 w 620972"/>
              <a:gd name="connsiteY0" fmla="*/ 0 h 1346270"/>
              <a:gd name="connsiteX1" fmla="*/ 120206 w 620972"/>
              <a:gd name="connsiteY1" fmla="*/ 0 h 1346270"/>
              <a:gd name="connsiteX2" fmla="*/ 135102 w 620972"/>
              <a:gd name="connsiteY2" fmla="*/ 14897 h 1346270"/>
              <a:gd name="connsiteX3" fmla="*/ 169873 w 620972"/>
              <a:gd name="connsiteY3" fmla="*/ 49666 h 1346270"/>
              <a:gd name="connsiteX4" fmla="*/ 451100 w 620972"/>
              <a:gd name="connsiteY4" fmla="*/ 49666 h 1346270"/>
              <a:gd name="connsiteX5" fmla="*/ 485871 w 620972"/>
              <a:gd name="connsiteY5" fmla="*/ 14897 h 1346270"/>
              <a:gd name="connsiteX6" fmla="*/ 500767 w 620972"/>
              <a:gd name="connsiteY6" fmla="*/ 0 h 1346270"/>
              <a:gd name="connsiteX7" fmla="*/ 546455 w 620972"/>
              <a:gd name="connsiteY7" fmla="*/ 0 h 1346270"/>
              <a:gd name="connsiteX8" fmla="*/ 620972 w 620972"/>
              <a:gd name="connsiteY8" fmla="*/ 74517 h 1346270"/>
              <a:gd name="connsiteX9" fmla="*/ 620972 w 620972"/>
              <a:gd name="connsiteY9" fmla="*/ 1271753 h 1346270"/>
              <a:gd name="connsiteX10" fmla="*/ 546455 w 620972"/>
              <a:gd name="connsiteY10" fmla="*/ 1346270 h 1346270"/>
              <a:gd name="connsiteX11" fmla="*/ 74517 w 620972"/>
              <a:gd name="connsiteY11" fmla="*/ 1346270 h 1346270"/>
              <a:gd name="connsiteX12" fmla="*/ 0 w 620972"/>
              <a:gd name="connsiteY12" fmla="*/ 1271753 h 1346270"/>
              <a:gd name="connsiteX13" fmla="*/ 0 w 620972"/>
              <a:gd name="connsiteY13" fmla="*/ 74517 h 1346270"/>
              <a:gd name="connsiteX14" fmla="*/ 74517 w 620972"/>
              <a:gd name="connsiteY14" fmla="*/ 0 h 134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0972" h="1346270">
                <a:moveTo>
                  <a:pt x="74517" y="0"/>
                </a:moveTo>
                <a:lnTo>
                  <a:pt x="120206" y="0"/>
                </a:lnTo>
                <a:cubicBezTo>
                  <a:pt x="128425" y="0"/>
                  <a:pt x="135102" y="6660"/>
                  <a:pt x="135102" y="14897"/>
                </a:cubicBezTo>
                <a:cubicBezTo>
                  <a:pt x="135102" y="34104"/>
                  <a:pt x="150665" y="49666"/>
                  <a:pt x="169873" y="49666"/>
                </a:cubicBezTo>
                <a:lnTo>
                  <a:pt x="451100" y="49666"/>
                </a:lnTo>
                <a:cubicBezTo>
                  <a:pt x="470308" y="49666"/>
                  <a:pt x="485871" y="34104"/>
                  <a:pt x="485871" y="14897"/>
                </a:cubicBezTo>
                <a:cubicBezTo>
                  <a:pt x="485871" y="6677"/>
                  <a:pt x="492530" y="0"/>
                  <a:pt x="500767" y="0"/>
                </a:cubicBezTo>
                <a:lnTo>
                  <a:pt x="546455" y="0"/>
                </a:lnTo>
                <a:cubicBezTo>
                  <a:pt x="587446" y="0"/>
                  <a:pt x="620972" y="33526"/>
                  <a:pt x="620972" y="74517"/>
                </a:cubicBezTo>
                <a:lnTo>
                  <a:pt x="620972" y="1271753"/>
                </a:lnTo>
                <a:cubicBezTo>
                  <a:pt x="620972" y="1312745"/>
                  <a:pt x="587446" y="1346270"/>
                  <a:pt x="546455" y="1346270"/>
                </a:cubicBezTo>
                <a:lnTo>
                  <a:pt x="74517" y="1346270"/>
                </a:lnTo>
                <a:cubicBezTo>
                  <a:pt x="33526" y="1346270"/>
                  <a:pt x="0" y="1312745"/>
                  <a:pt x="0" y="1271753"/>
                </a:cubicBezTo>
                <a:lnTo>
                  <a:pt x="0" y="74517"/>
                </a:lnTo>
                <a:cubicBezTo>
                  <a:pt x="0" y="33526"/>
                  <a:pt x="33526" y="0"/>
                  <a:pt x="74517" y="0"/>
                </a:cubicBezTo>
                <a:close/>
              </a:path>
            </a:pathLst>
          </a:custGeom>
          <a:solidFill>
            <a:schemeClr val="bg1">
              <a:lumMod val="85000"/>
            </a:schemeClr>
          </a:solidFill>
        </p:spPr>
        <p:txBody>
          <a:bodyPr vert="horz" wrap="square" lIns="144000" tIns="144000" rIns="144000" bIns="144000" rtlCol="0">
            <a:noAutofit/>
          </a:bodyPr>
          <a:lstStyle>
            <a:lvl1pPr marL="0" indent="0" algn="l">
              <a:buNone/>
              <a:defRPr lang="en-US"/>
            </a:lvl1pPr>
          </a:lstStyle>
          <a:p>
            <a:pPr marL="283474" lvl="0" indent="-283474"/>
            <a:r>
              <a:rPr lang="en-US" noProof="0"/>
              <a:t>Click icon to add picture</a:t>
            </a:r>
            <a:endParaRPr lang="de-DE" noProof="0" dirty="0"/>
          </a:p>
        </p:txBody>
      </p:sp>
      <p:cxnSp>
        <p:nvCxnSpPr>
          <p:cNvPr id="25" name="Linie 1">
            <a:extLst>
              <a:ext uri="{FF2B5EF4-FFF2-40B4-BE49-F238E27FC236}">
                <a16:creationId xmlns:a16="http://schemas.microsoft.com/office/drawing/2014/main" id="{021BEF7B-FC8A-D5B6-15BD-DA3BFC479DD2}"/>
              </a:ext>
            </a:extLst>
          </p:cNvPr>
          <p:cNvCxnSpPr>
            <a:cxnSpLocks/>
          </p:cNvCxnSpPr>
          <p:nvPr userDrawn="1"/>
        </p:nvCxnSpPr>
        <p:spPr bwMode="gray">
          <a:xfrm flipV="1">
            <a:off x="3396000" y="6089143"/>
            <a:ext cx="5400000" cy="10432"/>
          </a:xfrm>
          <a:prstGeom prst="line">
            <a:avLst/>
          </a:prstGeom>
          <a:ln w="254000">
            <a:gradFill>
              <a:gsLst>
                <a:gs pos="0">
                  <a:schemeClr val="bg1">
                    <a:lumMod val="75000"/>
                    <a:alpha val="0"/>
                  </a:schemeClr>
                </a:gs>
                <a:gs pos="50000">
                  <a:schemeClr val="bg1">
                    <a:lumMod val="75000"/>
                  </a:schemeClr>
                </a:gs>
                <a:gs pos="100000">
                  <a:schemeClr val="bg1">
                    <a:lumMod val="95000"/>
                    <a:alpha val="0"/>
                  </a:schemeClr>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6" name="Linie 2">
            <a:extLst>
              <a:ext uri="{FF2B5EF4-FFF2-40B4-BE49-F238E27FC236}">
                <a16:creationId xmlns:a16="http://schemas.microsoft.com/office/drawing/2014/main" id="{1A8520E2-24E9-259C-47F4-47BB48BDBE02}"/>
              </a:ext>
            </a:extLst>
          </p:cNvPr>
          <p:cNvCxnSpPr>
            <a:cxnSpLocks/>
          </p:cNvCxnSpPr>
          <p:nvPr userDrawn="1"/>
        </p:nvCxnSpPr>
        <p:spPr bwMode="gray">
          <a:xfrm>
            <a:off x="3396000" y="6099575"/>
            <a:ext cx="5400000" cy="26"/>
          </a:xfrm>
          <a:prstGeom prst="line">
            <a:avLst/>
          </a:prstGeom>
          <a:ln w="254000">
            <a:gradFill>
              <a:gsLst>
                <a:gs pos="75000">
                  <a:srgbClr val="FFFFFF">
                    <a:alpha val="0"/>
                  </a:srgbClr>
                </a:gs>
                <a:gs pos="25000">
                  <a:srgbClr val="FFFFFF">
                    <a:alpha val="0"/>
                  </a:srgbClr>
                </a:gs>
                <a:gs pos="0">
                  <a:schemeClr val="bg1"/>
                </a:gs>
                <a:gs pos="100000">
                  <a:schemeClr val="bg1"/>
                </a:gs>
              </a:gsLst>
              <a:lin ang="0" scaled="0"/>
            </a:gradFill>
            <a:tailEnd type="none"/>
          </a:ln>
        </p:spPr>
        <p:style>
          <a:lnRef idx="1">
            <a:schemeClr val="accent1"/>
          </a:lnRef>
          <a:fillRef idx="0">
            <a:schemeClr val="accent1"/>
          </a:fillRef>
          <a:effectRef idx="0">
            <a:schemeClr val="accent1"/>
          </a:effectRef>
          <a:fontRef idx="minor">
            <a:schemeClr val="tx1"/>
          </a:fontRef>
        </p:style>
      </p:cxnSp>
      <p:sp>
        <p:nvSpPr>
          <p:cNvPr id="27" name="Inhaltsplatzhalter 9">
            <a:extLst>
              <a:ext uri="{FF2B5EF4-FFF2-40B4-BE49-F238E27FC236}">
                <a16:creationId xmlns:a16="http://schemas.microsoft.com/office/drawing/2014/main" id="{511B9506-D699-B8EE-8A9E-169414289271}"/>
              </a:ext>
            </a:extLst>
          </p:cNvPr>
          <p:cNvSpPr>
            <a:spLocks noGrp="1"/>
          </p:cNvSpPr>
          <p:nvPr>
            <p:ph sz="quarter" idx="18"/>
          </p:nvPr>
        </p:nvSpPr>
        <p:spPr bwMode="gray">
          <a:xfrm>
            <a:off x="7896676" y="1844675"/>
            <a:ext cx="3600000"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8" name="Inhaltsplatzhalter 9">
            <a:extLst>
              <a:ext uri="{FF2B5EF4-FFF2-40B4-BE49-F238E27FC236}">
                <a16:creationId xmlns:a16="http://schemas.microsoft.com/office/drawing/2014/main" id="{90C87831-4967-DCA1-C182-06F24812D6FA}"/>
              </a:ext>
            </a:extLst>
          </p:cNvPr>
          <p:cNvSpPr>
            <a:spLocks noGrp="1"/>
          </p:cNvSpPr>
          <p:nvPr>
            <p:ph sz="quarter" idx="19"/>
          </p:nvPr>
        </p:nvSpPr>
        <p:spPr bwMode="gray">
          <a:xfrm>
            <a:off x="695326" y="1844675"/>
            <a:ext cx="3600000" cy="446405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223521537"/>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Specials">
    <p:bg>
      <p:bgPr>
        <a:solidFill>
          <a:schemeClr val="accent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730C8E6-C12C-34F9-BB33-B1A08B0CFE36}"/>
              </a:ext>
            </a:extLst>
          </p:cNvPr>
          <p:cNvSpPr txBox="1"/>
          <p:nvPr userDrawn="1"/>
        </p:nvSpPr>
        <p:spPr>
          <a:xfrm>
            <a:off x="695325" y="2996952"/>
            <a:ext cx="10801350" cy="864096"/>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300"/>
              </a:spcBef>
              <a:spcAft>
                <a:spcPts val="300"/>
              </a:spcAft>
              <a:buClrTx/>
              <a:buSzTx/>
              <a:buFontTx/>
              <a:buNone/>
              <a:tabLst/>
            </a:pPr>
            <a:r>
              <a:rPr kumimoji="0" lang="de-DE" sz="9600" b="0" i="0" u="none" strike="noStrike" kern="1200" cap="none" spc="40" normalizeH="0" baseline="0" noProof="0" dirty="0">
                <a:ln>
                  <a:noFill/>
                </a:ln>
                <a:solidFill>
                  <a:schemeClr val="bg1"/>
                </a:solidFill>
                <a:effectLst/>
                <a:uLnTx/>
                <a:uFillTx/>
                <a:latin typeface="+mj-lt"/>
                <a:ea typeface="+mn-ea"/>
                <a:cs typeface="+mn-cs"/>
              </a:rPr>
              <a:t>Kontakt und </a:t>
            </a:r>
            <a:br>
              <a:rPr kumimoji="0" lang="de-DE" sz="9600" b="0" i="0" u="none" strike="noStrike" kern="1200" cap="none" spc="40" normalizeH="0" baseline="0" noProof="0" dirty="0">
                <a:ln>
                  <a:noFill/>
                </a:ln>
                <a:solidFill>
                  <a:schemeClr val="bg1"/>
                </a:solidFill>
                <a:effectLst/>
                <a:uLnTx/>
                <a:uFillTx/>
                <a:latin typeface="+mj-lt"/>
                <a:ea typeface="+mn-ea"/>
                <a:cs typeface="+mn-cs"/>
              </a:rPr>
            </a:br>
            <a:r>
              <a:rPr kumimoji="0" lang="de-DE" sz="9600" b="0" i="0" u="none" strike="noStrike" kern="1200" cap="none" spc="40" normalizeH="0" baseline="0" noProof="0" dirty="0">
                <a:ln>
                  <a:noFill/>
                </a:ln>
                <a:solidFill>
                  <a:schemeClr val="bg1"/>
                </a:solidFill>
                <a:effectLst/>
                <a:uLnTx/>
                <a:uFillTx/>
                <a:latin typeface="+mj-lt"/>
                <a:ea typeface="+mn-ea"/>
                <a:cs typeface="+mn-cs"/>
              </a:rPr>
              <a:t>Abschlußfolien</a:t>
            </a:r>
          </a:p>
        </p:txBody>
      </p:sp>
      <p:pic>
        <p:nvPicPr>
          <p:cNvPr id="2" name="Grafik 1">
            <a:extLst>
              <a:ext uri="{FF2B5EF4-FFF2-40B4-BE49-F238E27FC236}">
                <a16:creationId xmlns:a16="http://schemas.microsoft.com/office/drawing/2014/main" id="{71B9BE91-805A-0C44-403E-2862DD1CE0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613601" y="553447"/>
            <a:ext cx="918000" cy="209082"/>
          </a:xfrm>
          <a:prstGeom prst="rect">
            <a:avLst/>
          </a:prstGeom>
        </p:spPr>
      </p:pic>
    </p:spTree>
    <p:extLst>
      <p:ext uri="{BB962C8B-B14F-4D97-AF65-F5344CB8AC3E}">
        <p14:creationId xmlns:p14="http://schemas.microsoft.com/office/powerpoint/2010/main" val="26074285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ntakt 1 AP">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0E34D6F6-533F-D38F-3D6F-6DF1E82E4C1E}"/>
              </a:ext>
            </a:extLst>
          </p:cNvPr>
          <p:cNvSpPr>
            <a:spLocks noGrp="1"/>
          </p:cNvSpPr>
          <p:nvPr>
            <p:ph type="body" sz="quarter" idx="28"/>
          </p:nvPr>
        </p:nvSpPr>
        <p:spPr bwMode="gray">
          <a:xfrm>
            <a:off x="695324" y="1800000"/>
            <a:ext cx="10801351" cy="252001"/>
          </a:xfrm>
        </p:spPr>
        <p:txBody>
          <a:bodyPr/>
          <a:lstStyle>
            <a:lvl1pPr>
              <a:defRPr cap="all" baseline="0">
                <a:solidFill>
                  <a:schemeClr val="accent1"/>
                </a:solidFill>
                <a:latin typeface="+mj-lt"/>
              </a:defRPr>
            </a:lvl1pPr>
            <a:lvl2pPr>
              <a:defRPr cap="all" baseline="0">
                <a:solidFill>
                  <a:schemeClr val="accent1"/>
                </a:solidFill>
                <a:latin typeface="+mj-lt"/>
              </a:defRPr>
            </a:lvl2pPr>
            <a:lvl3pPr>
              <a:defRPr cap="all" baseline="0">
                <a:solidFill>
                  <a:schemeClr val="accent1"/>
                </a:solidFill>
                <a:latin typeface="+mj-lt"/>
              </a:defRPr>
            </a:lvl3pPr>
            <a:lvl4pPr>
              <a:defRPr cap="all" baseline="0">
                <a:solidFill>
                  <a:schemeClr val="accent1"/>
                </a:solidFill>
                <a:latin typeface="+mj-lt"/>
              </a:defRPr>
            </a:lvl4pPr>
            <a:lvl5pPr>
              <a:defRPr cap="all" baseline="0">
                <a:solidFill>
                  <a:schemeClr val="accent1"/>
                </a:solidFill>
                <a:latin typeface="+mj-lt"/>
              </a:defRPr>
            </a:lvl5pPr>
          </a:lstStyle>
          <a:p>
            <a:pPr lvl="0"/>
            <a:r>
              <a:rPr lang="en-US"/>
              <a:t>Click to edit Master text styles</a:t>
            </a:r>
          </a:p>
        </p:txBody>
      </p:sp>
      <p:sp>
        <p:nvSpPr>
          <p:cNvPr id="13" name="Titel 12">
            <a:extLst>
              <a:ext uri="{FF2B5EF4-FFF2-40B4-BE49-F238E27FC236}">
                <a16:creationId xmlns:a16="http://schemas.microsoft.com/office/drawing/2014/main" id="{575127F1-5E6D-DF9D-086B-66A16FBBC910}"/>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
        <p:nvSpPr>
          <p:cNvPr id="4" name="Bildplatzhalter 3">
            <a:extLst>
              <a:ext uri="{FF2B5EF4-FFF2-40B4-BE49-F238E27FC236}">
                <a16:creationId xmlns:a16="http://schemas.microsoft.com/office/drawing/2014/main" id="{2D23DC17-F256-6B5E-DBD1-24B7A397EB57}"/>
              </a:ext>
            </a:extLst>
          </p:cNvPr>
          <p:cNvSpPr>
            <a:spLocks noGrp="1" noChangeAspect="1"/>
          </p:cNvSpPr>
          <p:nvPr>
            <p:ph type="pic" sz="quarter" idx="20"/>
          </p:nvPr>
        </p:nvSpPr>
        <p:spPr bwMode="gray">
          <a:xfrm>
            <a:off x="695325"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11" name="Textplatzhalter 10">
            <a:extLst>
              <a:ext uri="{FF2B5EF4-FFF2-40B4-BE49-F238E27FC236}">
                <a16:creationId xmlns:a16="http://schemas.microsoft.com/office/drawing/2014/main" id="{CDA04FA4-9254-9D14-85CF-4A343784E4E9}"/>
              </a:ext>
            </a:extLst>
          </p:cNvPr>
          <p:cNvSpPr>
            <a:spLocks noGrp="1"/>
          </p:cNvSpPr>
          <p:nvPr>
            <p:ph type="body" sz="quarter" idx="21"/>
          </p:nvPr>
        </p:nvSpPr>
        <p:spPr bwMode="gray">
          <a:xfrm>
            <a:off x="695324"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20" name="Textplatzhalter 10">
            <a:extLst>
              <a:ext uri="{FF2B5EF4-FFF2-40B4-BE49-F238E27FC236}">
                <a16:creationId xmlns:a16="http://schemas.microsoft.com/office/drawing/2014/main" id="{40BD5AFF-3B28-9F98-DB35-E3C99FC9745F}"/>
              </a:ext>
            </a:extLst>
          </p:cNvPr>
          <p:cNvSpPr>
            <a:spLocks noGrp="1"/>
          </p:cNvSpPr>
          <p:nvPr>
            <p:ph type="body" sz="quarter" idx="27"/>
          </p:nvPr>
        </p:nvSpPr>
        <p:spPr bwMode="gray">
          <a:xfrm>
            <a:off x="695324"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3016462991"/>
      </p:ext>
    </p:extLst>
  </p:cSld>
  <p:clrMapOvr>
    <a:masterClrMapping/>
  </p:clrMapOvr>
  <p:hf sldNum="0" hdr="0" ftr="0" dt="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ntakt 2 AP">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575127F1-5E6D-DF9D-086B-66A16FBBC910}"/>
              </a:ext>
            </a:extLst>
          </p:cNvPr>
          <p:cNvSpPr>
            <a:spLocks noGrp="1"/>
          </p:cNvSpPr>
          <p:nvPr>
            <p:ph type="title"/>
          </p:nvPr>
        </p:nvSpPr>
        <p:spPr bwMode="gray">
          <a:xfrm>
            <a:off x="695325" y="477596"/>
            <a:ext cx="9744675" cy="324000"/>
          </a:xfrm>
        </p:spPr>
        <p:txBody>
          <a:bodyPr/>
          <a:lstStyle/>
          <a:p>
            <a:r>
              <a:rPr lang="en-US"/>
              <a:t>Click to edit Master title style</a:t>
            </a:r>
            <a:endParaRPr lang="de-DE" dirty="0"/>
          </a:p>
        </p:txBody>
      </p:sp>
      <p:sp>
        <p:nvSpPr>
          <p:cNvPr id="4" name="Bildplatzhalter 3">
            <a:extLst>
              <a:ext uri="{FF2B5EF4-FFF2-40B4-BE49-F238E27FC236}">
                <a16:creationId xmlns:a16="http://schemas.microsoft.com/office/drawing/2014/main" id="{2D23DC17-F256-6B5E-DBD1-24B7A397EB57}"/>
              </a:ext>
            </a:extLst>
          </p:cNvPr>
          <p:cNvSpPr>
            <a:spLocks noGrp="1" noChangeAspect="1"/>
          </p:cNvSpPr>
          <p:nvPr>
            <p:ph type="pic" sz="quarter" idx="20"/>
          </p:nvPr>
        </p:nvSpPr>
        <p:spPr bwMode="gray">
          <a:xfrm>
            <a:off x="695325"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11" name="Textplatzhalter 10">
            <a:extLst>
              <a:ext uri="{FF2B5EF4-FFF2-40B4-BE49-F238E27FC236}">
                <a16:creationId xmlns:a16="http://schemas.microsoft.com/office/drawing/2014/main" id="{CDA04FA4-9254-9D14-85CF-4A343784E4E9}"/>
              </a:ext>
            </a:extLst>
          </p:cNvPr>
          <p:cNvSpPr>
            <a:spLocks noGrp="1"/>
          </p:cNvSpPr>
          <p:nvPr>
            <p:ph type="body" sz="quarter" idx="21"/>
          </p:nvPr>
        </p:nvSpPr>
        <p:spPr bwMode="gray">
          <a:xfrm>
            <a:off x="695324"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14" name="Bildplatzhalter 3">
            <a:extLst>
              <a:ext uri="{FF2B5EF4-FFF2-40B4-BE49-F238E27FC236}">
                <a16:creationId xmlns:a16="http://schemas.microsoft.com/office/drawing/2014/main" id="{9ABE09F7-7FF5-3E84-AC00-990FBBF1F112}"/>
              </a:ext>
            </a:extLst>
          </p:cNvPr>
          <p:cNvSpPr>
            <a:spLocks noGrp="1" noChangeAspect="1"/>
          </p:cNvSpPr>
          <p:nvPr>
            <p:ph type="pic" sz="quarter" idx="22"/>
          </p:nvPr>
        </p:nvSpPr>
        <p:spPr bwMode="gray">
          <a:xfrm>
            <a:off x="5016678"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15" name="Textplatzhalter 10">
            <a:extLst>
              <a:ext uri="{FF2B5EF4-FFF2-40B4-BE49-F238E27FC236}">
                <a16:creationId xmlns:a16="http://schemas.microsoft.com/office/drawing/2014/main" id="{D5932703-B43B-ED77-A182-A0A33C607818}"/>
              </a:ext>
            </a:extLst>
          </p:cNvPr>
          <p:cNvSpPr>
            <a:spLocks noGrp="1"/>
          </p:cNvSpPr>
          <p:nvPr>
            <p:ph type="body" sz="quarter" idx="23"/>
          </p:nvPr>
        </p:nvSpPr>
        <p:spPr bwMode="gray">
          <a:xfrm>
            <a:off x="5016678"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20" name="Textplatzhalter 10">
            <a:extLst>
              <a:ext uri="{FF2B5EF4-FFF2-40B4-BE49-F238E27FC236}">
                <a16:creationId xmlns:a16="http://schemas.microsoft.com/office/drawing/2014/main" id="{40BD5AFF-3B28-9F98-DB35-E3C99FC9745F}"/>
              </a:ext>
            </a:extLst>
          </p:cNvPr>
          <p:cNvSpPr>
            <a:spLocks noGrp="1"/>
          </p:cNvSpPr>
          <p:nvPr>
            <p:ph type="body" sz="quarter" idx="27"/>
          </p:nvPr>
        </p:nvSpPr>
        <p:spPr bwMode="gray">
          <a:xfrm>
            <a:off x="695324"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
        <p:nvSpPr>
          <p:cNvPr id="21" name="Textplatzhalter 10">
            <a:extLst>
              <a:ext uri="{FF2B5EF4-FFF2-40B4-BE49-F238E27FC236}">
                <a16:creationId xmlns:a16="http://schemas.microsoft.com/office/drawing/2014/main" id="{0E6626C2-27AD-BBB8-FEC5-65B32CB35ECF}"/>
              </a:ext>
            </a:extLst>
          </p:cNvPr>
          <p:cNvSpPr>
            <a:spLocks noGrp="1"/>
          </p:cNvSpPr>
          <p:nvPr>
            <p:ph type="body" sz="quarter" idx="28"/>
          </p:nvPr>
        </p:nvSpPr>
        <p:spPr bwMode="gray">
          <a:xfrm>
            <a:off x="5016678"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
        <p:nvSpPr>
          <p:cNvPr id="2" name="Textplatzhalter 25">
            <a:extLst>
              <a:ext uri="{FF2B5EF4-FFF2-40B4-BE49-F238E27FC236}">
                <a16:creationId xmlns:a16="http://schemas.microsoft.com/office/drawing/2014/main" id="{E7B8F141-791F-F39D-C956-434E4F1A089A}"/>
              </a:ext>
            </a:extLst>
          </p:cNvPr>
          <p:cNvSpPr>
            <a:spLocks noGrp="1"/>
          </p:cNvSpPr>
          <p:nvPr>
            <p:ph type="body" sz="quarter" idx="29"/>
          </p:nvPr>
        </p:nvSpPr>
        <p:spPr bwMode="gray">
          <a:xfrm>
            <a:off x="695324" y="1800000"/>
            <a:ext cx="10801351" cy="252001"/>
          </a:xfrm>
        </p:spPr>
        <p:txBody>
          <a:bodyPr/>
          <a:lstStyle>
            <a:lvl1pPr>
              <a:defRPr cap="all" baseline="0">
                <a:solidFill>
                  <a:schemeClr val="accent1"/>
                </a:solidFill>
                <a:latin typeface="+mj-lt"/>
              </a:defRPr>
            </a:lvl1pPr>
            <a:lvl2pPr>
              <a:defRPr cap="all" baseline="0">
                <a:solidFill>
                  <a:schemeClr val="accent1"/>
                </a:solidFill>
                <a:latin typeface="+mj-lt"/>
              </a:defRPr>
            </a:lvl2pPr>
            <a:lvl3pPr>
              <a:defRPr cap="all" baseline="0">
                <a:solidFill>
                  <a:schemeClr val="accent1"/>
                </a:solidFill>
                <a:latin typeface="+mj-lt"/>
              </a:defRPr>
            </a:lvl3pPr>
            <a:lvl4pPr>
              <a:defRPr cap="all" baseline="0">
                <a:solidFill>
                  <a:schemeClr val="accent1"/>
                </a:solidFill>
                <a:latin typeface="+mj-lt"/>
              </a:defRPr>
            </a:lvl4pPr>
            <a:lvl5pPr>
              <a:defRPr cap="all" baseline="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1978686005"/>
      </p:ext>
    </p:extLst>
  </p:cSld>
  <p:clrMapOvr>
    <a:masterClrMapping/>
  </p:clrMapOvr>
  <p:hf sldNum="0" hdr="0" ftr="0" dt="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ntakt 3 AP">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575127F1-5E6D-DF9D-086B-66A16FBBC910}"/>
              </a:ext>
            </a:extLst>
          </p:cNvPr>
          <p:cNvSpPr>
            <a:spLocks noGrp="1"/>
          </p:cNvSpPr>
          <p:nvPr>
            <p:ph type="title"/>
          </p:nvPr>
        </p:nvSpPr>
        <p:spPr bwMode="gray">
          <a:xfrm>
            <a:off x="695325" y="477596"/>
            <a:ext cx="9744675" cy="324000"/>
          </a:xfrm>
        </p:spPr>
        <p:txBody>
          <a:bodyPr/>
          <a:lstStyle/>
          <a:p>
            <a:r>
              <a:rPr lang="en-US"/>
              <a:t>Click to edit Master title style</a:t>
            </a:r>
            <a:endParaRPr lang="de-DE"/>
          </a:p>
        </p:txBody>
      </p:sp>
      <p:sp>
        <p:nvSpPr>
          <p:cNvPr id="4" name="Bildplatzhalter 3">
            <a:extLst>
              <a:ext uri="{FF2B5EF4-FFF2-40B4-BE49-F238E27FC236}">
                <a16:creationId xmlns:a16="http://schemas.microsoft.com/office/drawing/2014/main" id="{2D23DC17-F256-6B5E-DBD1-24B7A397EB57}"/>
              </a:ext>
            </a:extLst>
          </p:cNvPr>
          <p:cNvSpPr>
            <a:spLocks noGrp="1" noChangeAspect="1"/>
          </p:cNvSpPr>
          <p:nvPr>
            <p:ph type="pic" sz="quarter" idx="20"/>
          </p:nvPr>
        </p:nvSpPr>
        <p:spPr bwMode="gray">
          <a:xfrm>
            <a:off x="695325"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11" name="Textplatzhalter 10">
            <a:extLst>
              <a:ext uri="{FF2B5EF4-FFF2-40B4-BE49-F238E27FC236}">
                <a16:creationId xmlns:a16="http://schemas.microsoft.com/office/drawing/2014/main" id="{CDA04FA4-9254-9D14-85CF-4A343784E4E9}"/>
              </a:ext>
            </a:extLst>
          </p:cNvPr>
          <p:cNvSpPr>
            <a:spLocks noGrp="1"/>
          </p:cNvSpPr>
          <p:nvPr>
            <p:ph type="body" sz="quarter" idx="21"/>
          </p:nvPr>
        </p:nvSpPr>
        <p:spPr bwMode="gray">
          <a:xfrm>
            <a:off x="695324"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14" name="Bildplatzhalter 3">
            <a:extLst>
              <a:ext uri="{FF2B5EF4-FFF2-40B4-BE49-F238E27FC236}">
                <a16:creationId xmlns:a16="http://schemas.microsoft.com/office/drawing/2014/main" id="{9ABE09F7-7FF5-3E84-AC00-990FBBF1F112}"/>
              </a:ext>
            </a:extLst>
          </p:cNvPr>
          <p:cNvSpPr>
            <a:spLocks noGrp="1" noChangeAspect="1"/>
          </p:cNvSpPr>
          <p:nvPr>
            <p:ph type="pic" sz="quarter" idx="22"/>
          </p:nvPr>
        </p:nvSpPr>
        <p:spPr bwMode="gray">
          <a:xfrm>
            <a:off x="4477432"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15" name="Textplatzhalter 10">
            <a:extLst>
              <a:ext uri="{FF2B5EF4-FFF2-40B4-BE49-F238E27FC236}">
                <a16:creationId xmlns:a16="http://schemas.microsoft.com/office/drawing/2014/main" id="{D5932703-B43B-ED77-A182-A0A33C607818}"/>
              </a:ext>
            </a:extLst>
          </p:cNvPr>
          <p:cNvSpPr>
            <a:spLocks noGrp="1"/>
          </p:cNvSpPr>
          <p:nvPr>
            <p:ph type="body" sz="quarter" idx="23"/>
          </p:nvPr>
        </p:nvSpPr>
        <p:spPr bwMode="gray">
          <a:xfrm>
            <a:off x="4477432"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20" name="Textplatzhalter 10">
            <a:extLst>
              <a:ext uri="{FF2B5EF4-FFF2-40B4-BE49-F238E27FC236}">
                <a16:creationId xmlns:a16="http://schemas.microsoft.com/office/drawing/2014/main" id="{40BD5AFF-3B28-9F98-DB35-E3C99FC9745F}"/>
              </a:ext>
            </a:extLst>
          </p:cNvPr>
          <p:cNvSpPr>
            <a:spLocks noGrp="1"/>
          </p:cNvSpPr>
          <p:nvPr>
            <p:ph type="body" sz="quarter" idx="27"/>
          </p:nvPr>
        </p:nvSpPr>
        <p:spPr bwMode="gray">
          <a:xfrm>
            <a:off x="695324"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
        <p:nvSpPr>
          <p:cNvPr id="21" name="Textplatzhalter 10">
            <a:extLst>
              <a:ext uri="{FF2B5EF4-FFF2-40B4-BE49-F238E27FC236}">
                <a16:creationId xmlns:a16="http://schemas.microsoft.com/office/drawing/2014/main" id="{0E6626C2-27AD-BBB8-FEC5-65B32CB35ECF}"/>
              </a:ext>
            </a:extLst>
          </p:cNvPr>
          <p:cNvSpPr>
            <a:spLocks noGrp="1"/>
          </p:cNvSpPr>
          <p:nvPr>
            <p:ph type="body" sz="quarter" idx="28"/>
          </p:nvPr>
        </p:nvSpPr>
        <p:spPr bwMode="gray">
          <a:xfrm>
            <a:off x="4477432"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
        <p:nvSpPr>
          <p:cNvPr id="22" name="Bildplatzhalter 3">
            <a:extLst>
              <a:ext uri="{FF2B5EF4-FFF2-40B4-BE49-F238E27FC236}">
                <a16:creationId xmlns:a16="http://schemas.microsoft.com/office/drawing/2014/main" id="{BD63B4B1-8ADE-BCC5-72D9-020ACDA0F4DD}"/>
              </a:ext>
            </a:extLst>
          </p:cNvPr>
          <p:cNvSpPr>
            <a:spLocks noGrp="1" noChangeAspect="1"/>
          </p:cNvSpPr>
          <p:nvPr>
            <p:ph type="pic" sz="quarter" idx="29"/>
          </p:nvPr>
        </p:nvSpPr>
        <p:spPr bwMode="gray">
          <a:xfrm>
            <a:off x="8259542" y="2313943"/>
            <a:ext cx="2412000" cy="2239398"/>
          </a:xfrm>
          <a:solidFill>
            <a:schemeClr val="bg1">
              <a:lumMod val="95000"/>
            </a:schemeClr>
          </a:solidFill>
        </p:spPr>
        <p:txBody>
          <a:bodyPr vert="horz" lIns="0" tIns="0" rIns="0" bIns="0" rtlCol="0">
            <a:noAutofit/>
          </a:bodyPr>
          <a:lstStyle>
            <a:lvl1pPr>
              <a:defRPr lang="de-DE"/>
            </a:lvl1pPr>
          </a:lstStyle>
          <a:p>
            <a:pPr lvl="0"/>
            <a:r>
              <a:rPr lang="en-US"/>
              <a:t>Click icon to add picture</a:t>
            </a:r>
            <a:endParaRPr lang="de-DE" dirty="0"/>
          </a:p>
        </p:txBody>
      </p:sp>
      <p:sp>
        <p:nvSpPr>
          <p:cNvPr id="23" name="Textplatzhalter 10">
            <a:extLst>
              <a:ext uri="{FF2B5EF4-FFF2-40B4-BE49-F238E27FC236}">
                <a16:creationId xmlns:a16="http://schemas.microsoft.com/office/drawing/2014/main" id="{E67E846A-325A-72F4-49FD-2949E914D481}"/>
              </a:ext>
            </a:extLst>
          </p:cNvPr>
          <p:cNvSpPr>
            <a:spLocks noGrp="1"/>
          </p:cNvSpPr>
          <p:nvPr>
            <p:ph type="body" sz="quarter" idx="30"/>
          </p:nvPr>
        </p:nvSpPr>
        <p:spPr bwMode="gray">
          <a:xfrm>
            <a:off x="8259541" y="4695473"/>
            <a:ext cx="3240000" cy="252000"/>
          </a:xfrm>
        </p:spPr>
        <p:txBody>
          <a:bodyPr/>
          <a:lstStyle>
            <a:lvl1pPr>
              <a:defRPr sz="1600" b="1">
                <a:latin typeface="+mj-lt"/>
              </a:defRPr>
            </a:lvl1pPr>
            <a:lvl2pPr marL="0" indent="0">
              <a:buNone/>
              <a:defRPr/>
            </a:lvl2pPr>
          </a:lstStyle>
          <a:p>
            <a:pPr lvl="0"/>
            <a:r>
              <a:rPr lang="en-US"/>
              <a:t>Click to edit Master text styles</a:t>
            </a:r>
          </a:p>
        </p:txBody>
      </p:sp>
      <p:sp>
        <p:nvSpPr>
          <p:cNvPr id="24" name="Textplatzhalter 10">
            <a:extLst>
              <a:ext uri="{FF2B5EF4-FFF2-40B4-BE49-F238E27FC236}">
                <a16:creationId xmlns:a16="http://schemas.microsoft.com/office/drawing/2014/main" id="{0964672C-AA32-0F93-13FC-97EC9EBED7BC}"/>
              </a:ext>
            </a:extLst>
          </p:cNvPr>
          <p:cNvSpPr>
            <a:spLocks noGrp="1"/>
          </p:cNvSpPr>
          <p:nvPr>
            <p:ph type="body" sz="quarter" idx="31"/>
          </p:nvPr>
        </p:nvSpPr>
        <p:spPr bwMode="gray">
          <a:xfrm>
            <a:off x="8259541" y="5089605"/>
            <a:ext cx="3240000" cy="1219120"/>
          </a:xfrm>
        </p:spPr>
        <p:txBody>
          <a:bodyPr/>
          <a:lstStyle>
            <a:lvl1pPr>
              <a:defRPr sz="1400">
                <a:latin typeface="+mn-lt"/>
              </a:defRPr>
            </a:lvl1pPr>
            <a:lvl2pPr marL="0" indent="0">
              <a:buNone/>
              <a:defRPr/>
            </a:lvl2pPr>
          </a:lstStyle>
          <a:p>
            <a:pPr lvl="0"/>
            <a:r>
              <a:rPr lang="en-US"/>
              <a:t>Click to edit Master text styles</a:t>
            </a:r>
          </a:p>
        </p:txBody>
      </p:sp>
      <p:sp>
        <p:nvSpPr>
          <p:cNvPr id="2" name="Textplatzhalter 25">
            <a:extLst>
              <a:ext uri="{FF2B5EF4-FFF2-40B4-BE49-F238E27FC236}">
                <a16:creationId xmlns:a16="http://schemas.microsoft.com/office/drawing/2014/main" id="{5170B31F-3834-99D9-AFD4-A861DF1C8AE5}"/>
              </a:ext>
            </a:extLst>
          </p:cNvPr>
          <p:cNvSpPr>
            <a:spLocks noGrp="1"/>
          </p:cNvSpPr>
          <p:nvPr>
            <p:ph type="body" sz="quarter" idx="32"/>
          </p:nvPr>
        </p:nvSpPr>
        <p:spPr bwMode="gray">
          <a:xfrm>
            <a:off x="695324" y="1800000"/>
            <a:ext cx="10801351" cy="252001"/>
          </a:xfrm>
        </p:spPr>
        <p:txBody>
          <a:bodyPr/>
          <a:lstStyle>
            <a:lvl1pPr>
              <a:defRPr cap="all" baseline="0">
                <a:solidFill>
                  <a:schemeClr val="accent1"/>
                </a:solidFill>
                <a:latin typeface="+mj-lt"/>
              </a:defRPr>
            </a:lvl1pPr>
            <a:lvl2pPr>
              <a:defRPr cap="all" baseline="0">
                <a:solidFill>
                  <a:schemeClr val="accent1"/>
                </a:solidFill>
                <a:latin typeface="+mj-lt"/>
              </a:defRPr>
            </a:lvl2pPr>
            <a:lvl3pPr>
              <a:defRPr cap="all" baseline="0">
                <a:solidFill>
                  <a:schemeClr val="accent1"/>
                </a:solidFill>
                <a:latin typeface="+mj-lt"/>
              </a:defRPr>
            </a:lvl3pPr>
            <a:lvl4pPr>
              <a:defRPr cap="all" baseline="0">
                <a:solidFill>
                  <a:schemeClr val="accent1"/>
                </a:solidFill>
                <a:latin typeface="+mj-lt"/>
              </a:defRPr>
            </a:lvl4pPr>
            <a:lvl5pPr>
              <a:defRPr cap="all" baseline="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380761341"/>
      </p:ext>
    </p:extLst>
  </p:cSld>
  <p:clrMapOvr>
    <a:masterClrMapping/>
  </p:clrMapOvr>
  <p:hf sldNum="0" hdr="0" ftr="0" dt="0"/>
  <p:extLst>
    <p:ext uri="{DCECCB84-F9BA-43D5-87BE-67443E8EF086}">
      <p15:sldGuideLst xmlns:p15="http://schemas.microsoft.com/office/powerpoint/2012/main">
        <p15:guide id="1" orient="horz" pos="1162"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ontak-/Abschlussfolie">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10613601" y="548680"/>
            <a:ext cx="912923" cy="210675"/>
          </a:xfrm>
          <a:prstGeom prst="rect">
            <a:avLst/>
          </a:prstGeom>
        </p:spPr>
      </p:pic>
      <p:pic>
        <p:nvPicPr>
          <p:cNvPr id="22" name="Grafik 21">
            <a:extLst>
              <a:ext uri="{FF2B5EF4-FFF2-40B4-BE49-F238E27FC236}">
                <a16:creationId xmlns:a16="http://schemas.microsoft.com/office/drawing/2014/main" id="{FC68CA13-9A37-DDBE-857F-56533BE1EE90}"/>
              </a:ext>
            </a:extLst>
          </p:cNvPr>
          <p:cNvPicPr>
            <a:picLocks noChangeAspect="1"/>
          </p:cNvPicPr>
          <p:nvPr userDrawn="1"/>
        </p:nvPicPr>
        <p:blipFill>
          <a:blip r:embed="rId3"/>
          <a:stretch>
            <a:fillRect/>
          </a:stretch>
        </p:blipFill>
        <p:spPr>
          <a:xfrm>
            <a:off x="7855892" y="2241550"/>
            <a:ext cx="3568700" cy="2374900"/>
          </a:xfrm>
          <a:prstGeom prst="rect">
            <a:avLst/>
          </a:prstGeom>
        </p:spPr>
      </p:pic>
      <p:pic>
        <p:nvPicPr>
          <p:cNvPr id="23" name="Grafik 22">
            <a:extLst>
              <a:ext uri="{FF2B5EF4-FFF2-40B4-BE49-F238E27FC236}">
                <a16:creationId xmlns:a16="http://schemas.microsoft.com/office/drawing/2014/main" id="{59076396-E385-083F-6CB5-3CC7EBA69187}"/>
              </a:ext>
            </a:extLst>
          </p:cNvPr>
          <p:cNvPicPr>
            <a:picLocks noChangeAspect="1"/>
          </p:cNvPicPr>
          <p:nvPr userDrawn="1"/>
        </p:nvPicPr>
        <p:blipFill>
          <a:blip r:embed="rId3"/>
          <a:stretch>
            <a:fillRect/>
          </a:stretch>
        </p:blipFill>
        <p:spPr>
          <a:xfrm>
            <a:off x="7063804" y="1468866"/>
            <a:ext cx="3568700" cy="2374900"/>
          </a:xfrm>
          <a:prstGeom prst="rect">
            <a:avLst/>
          </a:prstGeom>
        </p:spPr>
      </p:pic>
      <p:grpSp>
        <p:nvGrpSpPr>
          <p:cNvPr id="2" name="Gruppieren 1">
            <a:extLst>
              <a:ext uri="{FF2B5EF4-FFF2-40B4-BE49-F238E27FC236}">
                <a16:creationId xmlns:a16="http://schemas.microsoft.com/office/drawing/2014/main" id="{C5C1F292-1363-06FA-DE56-64E08701948E}"/>
              </a:ext>
            </a:extLst>
          </p:cNvPr>
          <p:cNvGrpSpPr>
            <a:grpSpLocks noChangeAspect="1"/>
          </p:cNvGrpSpPr>
          <p:nvPr userDrawn="1"/>
        </p:nvGrpSpPr>
        <p:grpSpPr>
          <a:xfrm>
            <a:off x="7773258" y="6218539"/>
            <a:ext cx="3798100" cy="386907"/>
            <a:chOff x="695325" y="5303713"/>
            <a:chExt cx="3798100" cy="386907"/>
          </a:xfrm>
        </p:grpSpPr>
        <p:grpSp>
          <p:nvGrpSpPr>
            <p:cNvPr id="7" name="Gruppieren 6">
              <a:extLst>
                <a:ext uri="{FF2B5EF4-FFF2-40B4-BE49-F238E27FC236}">
                  <a16:creationId xmlns:a16="http://schemas.microsoft.com/office/drawing/2014/main" id="{ED08D902-3A35-C409-EE56-75751A7FC698}"/>
                </a:ext>
              </a:extLst>
            </p:cNvPr>
            <p:cNvGrpSpPr>
              <a:grpSpLocks noChangeAspect="1"/>
            </p:cNvGrpSpPr>
            <p:nvPr/>
          </p:nvGrpSpPr>
          <p:grpSpPr>
            <a:xfrm>
              <a:off x="695325" y="5303713"/>
              <a:ext cx="386907" cy="386907"/>
              <a:chOff x="7920000" y="6228000"/>
              <a:chExt cx="386907" cy="386907"/>
            </a:xfrm>
          </p:grpSpPr>
          <p:sp>
            <p:nvSpPr>
              <p:cNvPr id="35" name="Freihandform: Form 12">
                <a:extLst>
                  <a:ext uri="{FF2B5EF4-FFF2-40B4-BE49-F238E27FC236}">
                    <a16:creationId xmlns:a16="http://schemas.microsoft.com/office/drawing/2014/main" id="{788380E9-E2EE-778E-AECE-7E1635EA5846}"/>
                  </a:ext>
                </a:extLst>
              </p:cNvPr>
              <p:cNvSpPr/>
              <p:nvPr userDrawn="1"/>
            </p:nvSpPr>
            <p:spPr>
              <a:xfrm>
                <a:off x="7920000"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6" name="Grafik 35">
                <a:extLst>
                  <a:ext uri="{FF2B5EF4-FFF2-40B4-BE49-F238E27FC236}">
                    <a16:creationId xmlns:a16="http://schemas.microsoft.com/office/drawing/2014/main" id="{388E1975-9CDC-0195-4863-097679D06000}"/>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4565" t="6043" r="23344" b="6314"/>
              <a:stretch/>
            </p:blipFill>
            <p:spPr>
              <a:xfrm>
                <a:off x="8038443" y="6295247"/>
                <a:ext cx="150020" cy="252412"/>
              </a:xfrm>
              <a:prstGeom prst="rect">
                <a:avLst/>
              </a:prstGeom>
            </p:spPr>
          </p:pic>
        </p:grpSp>
        <p:grpSp>
          <p:nvGrpSpPr>
            <p:cNvPr id="8" name="Gruppieren 7">
              <a:extLst>
                <a:ext uri="{FF2B5EF4-FFF2-40B4-BE49-F238E27FC236}">
                  <a16:creationId xmlns:a16="http://schemas.microsoft.com/office/drawing/2014/main" id="{11C8DA7F-F8A5-7896-9FFE-6B4424A550FD}"/>
                </a:ext>
              </a:extLst>
            </p:cNvPr>
            <p:cNvGrpSpPr>
              <a:grpSpLocks noChangeAspect="1"/>
            </p:cNvGrpSpPr>
            <p:nvPr/>
          </p:nvGrpSpPr>
          <p:grpSpPr>
            <a:xfrm>
              <a:off x="2157264" y="5303713"/>
              <a:ext cx="386907" cy="386907"/>
              <a:chOff x="9381939" y="6228000"/>
              <a:chExt cx="386907" cy="386907"/>
            </a:xfrm>
          </p:grpSpPr>
          <p:sp>
            <p:nvSpPr>
              <p:cNvPr id="33" name="Freihandform: Form 15">
                <a:extLst>
                  <a:ext uri="{FF2B5EF4-FFF2-40B4-BE49-F238E27FC236}">
                    <a16:creationId xmlns:a16="http://schemas.microsoft.com/office/drawing/2014/main" id="{488301C1-3A99-E8FB-6859-C23CB495C688}"/>
                  </a:ext>
                </a:extLst>
              </p:cNvPr>
              <p:cNvSpPr/>
              <p:nvPr userDrawn="1"/>
            </p:nvSpPr>
            <p:spPr>
              <a:xfrm>
                <a:off x="9381939"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4" name="Grafik 33">
                <a:extLst>
                  <a:ext uri="{FF2B5EF4-FFF2-40B4-BE49-F238E27FC236}">
                    <a16:creationId xmlns:a16="http://schemas.microsoft.com/office/drawing/2014/main" id="{E8BBA339-A96B-E4D7-C71F-3214F34F8D5E}"/>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0209" y="6304363"/>
                <a:ext cx="210366" cy="210366"/>
              </a:xfrm>
              <a:prstGeom prst="rect">
                <a:avLst/>
              </a:prstGeom>
            </p:spPr>
          </p:pic>
        </p:grpSp>
        <p:grpSp>
          <p:nvGrpSpPr>
            <p:cNvPr id="9" name="Gruppieren 8">
              <a:extLst>
                <a:ext uri="{FF2B5EF4-FFF2-40B4-BE49-F238E27FC236}">
                  <a16:creationId xmlns:a16="http://schemas.microsoft.com/office/drawing/2014/main" id="{9882486D-7E61-F4DE-FEDC-98B2BC0E2BBC}"/>
                </a:ext>
              </a:extLst>
            </p:cNvPr>
            <p:cNvGrpSpPr>
              <a:grpSpLocks noChangeAspect="1"/>
            </p:cNvGrpSpPr>
            <p:nvPr/>
          </p:nvGrpSpPr>
          <p:grpSpPr>
            <a:xfrm>
              <a:off x="1182638" y="5303713"/>
              <a:ext cx="386907" cy="386907"/>
              <a:chOff x="8407313" y="6228000"/>
              <a:chExt cx="386907" cy="386907"/>
            </a:xfrm>
          </p:grpSpPr>
          <p:sp>
            <p:nvSpPr>
              <p:cNvPr id="31" name="Freihandform: Form 13">
                <a:extLst>
                  <a:ext uri="{FF2B5EF4-FFF2-40B4-BE49-F238E27FC236}">
                    <a16:creationId xmlns:a16="http://schemas.microsoft.com/office/drawing/2014/main" id="{7898B09A-4EA2-134A-229F-A5AC2299E328}"/>
                  </a:ext>
                </a:extLst>
              </p:cNvPr>
              <p:cNvSpPr/>
              <p:nvPr userDrawn="1"/>
            </p:nvSpPr>
            <p:spPr>
              <a:xfrm>
                <a:off x="840731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2" name="Grafik 31">
                <a:extLst>
                  <a:ext uri="{FF2B5EF4-FFF2-40B4-BE49-F238E27FC236}">
                    <a16:creationId xmlns:a16="http://schemas.microsoft.com/office/drawing/2014/main" id="{60286A19-2507-B565-BA65-7B133C47EE42}"/>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93072" y="6305793"/>
                <a:ext cx="231321" cy="231321"/>
              </a:xfrm>
              <a:prstGeom prst="rect">
                <a:avLst/>
              </a:prstGeom>
            </p:spPr>
          </p:pic>
        </p:grpSp>
        <p:grpSp>
          <p:nvGrpSpPr>
            <p:cNvPr id="10" name="Gruppieren 9">
              <a:extLst>
                <a:ext uri="{FF2B5EF4-FFF2-40B4-BE49-F238E27FC236}">
                  <a16:creationId xmlns:a16="http://schemas.microsoft.com/office/drawing/2014/main" id="{FE0B4B51-AE48-57E1-1EC3-93D23FC484FD}"/>
                </a:ext>
              </a:extLst>
            </p:cNvPr>
            <p:cNvGrpSpPr>
              <a:grpSpLocks noChangeAspect="1"/>
            </p:cNvGrpSpPr>
            <p:nvPr/>
          </p:nvGrpSpPr>
          <p:grpSpPr>
            <a:xfrm>
              <a:off x="3619203" y="5303713"/>
              <a:ext cx="386907" cy="386907"/>
              <a:chOff x="10843878" y="6228000"/>
              <a:chExt cx="386907" cy="386907"/>
            </a:xfrm>
          </p:grpSpPr>
          <p:sp>
            <p:nvSpPr>
              <p:cNvPr id="29" name="Freihandform: Form 91">
                <a:extLst>
                  <a:ext uri="{FF2B5EF4-FFF2-40B4-BE49-F238E27FC236}">
                    <a16:creationId xmlns:a16="http://schemas.microsoft.com/office/drawing/2014/main" id="{8C465756-FC23-3738-40BA-59432FE4E2B6}"/>
                  </a:ext>
                </a:extLst>
              </p:cNvPr>
              <p:cNvSpPr/>
              <p:nvPr userDrawn="1"/>
            </p:nvSpPr>
            <p:spPr>
              <a:xfrm>
                <a:off x="10843878"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0" name="Grafik 29">
                <a:extLst>
                  <a:ext uri="{FF2B5EF4-FFF2-40B4-BE49-F238E27FC236}">
                    <a16:creationId xmlns:a16="http://schemas.microsoft.com/office/drawing/2014/main" id="{091AD755-C902-E08F-D510-E8F7AD70BB6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929331" y="6320523"/>
                <a:ext cx="216000" cy="216000"/>
              </a:xfrm>
              <a:prstGeom prst="rect">
                <a:avLst/>
              </a:prstGeom>
            </p:spPr>
          </p:pic>
        </p:grpSp>
        <p:grpSp>
          <p:nvGrpSpPr>
            <p:cNvPr id="11" name="Gruppieren 10">
              <a:extLst>
                <a:ext uri="{FF2B5EF4-FFF2-40B4-BE49-F238E27FC236}">
                  <a16:creationId xmlns:a16="http://schemas.microsoft.com/office/drawing/2014/main" id="{2FF5C5B5-C84D-C687-62D7-695D8444948B}"/>
                </a:ext>
              </a:extLst>
            </p:cNvPr>
            <p:cNvGrpSpPr>
              <a:grpSpLocks noChangeAspect="1"/>
            </p:cNvGrpSpPr>
            <p:nvPr/>
          </p:nvGrpSpPr>
          <p:grpSpPr>
            <a:xfrm>
              <a:off x="2644577" y="5303713"/>
              <a:ext cx="386907" cy="386907"/>
              <a:chOff x="9869252" y="6228000"/>
              <a:chExt cx="386907" cy="386907"/>
            </a:xfrm>
          </p:grpSpPr>
          <p:sp>
            <p:nvSpPr>
              <p:cNvPr id="27" name="Freihandform: Form 16">
                <a:extLst>
                  <a:ext uri="{FF2B5EF4-FFF2-40B4-BE49-F238E27FC236}">
                    <a16:creationId xmlns:a16="http://schemas.microsoft.com/office/drawing/2014/main" id="{275013E3-85C4-A2A6-D4E6-EBD92D31D068}"/>
                  </a:ext>
                </a:extLst>
              </p:cNvPr>
              <p:cNvSpPr/>
              <p:nvPr userDrawn="1"/>
            </p:nvSpPr>
            <p:spPr>
              <a:xfrm>
                <a:off x="9869252"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8" name="Grafik 27">
                <a:extLst>
                  <a:ext uri="{FF2B5EF4-FFF2-40B4-BE49-F238E27FC236}">
                    <a16:creationId xmlns:a16="http://schemas.microsoft.com/office/drawing/2014/main" id="{370B2606-4CE7-45B4-9C04-7832232CEFD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9938347" y="6297095"/>
                <a:ext cx="248716" cy="248716"/>
              </a:xfrm>
              <a:prstGeom prst="rect">
                <a:avLst/>
              </a:prstGeom>
            </p:spPr>
          </p:pic>
        </p:grpSp>
        <p:grpSp>
          <p:nvGrpSpPr>
            <p:cNvPr id="12" name="Gruppieren 11">
              <a:extLst>
                <a:ext uri="{FF2B5EF4-FFF2-40B4-BE49-F238E27FC236}">
                  <a16:creationId xmlns:a16="http://schemas.microsoft.com/office/drawing/2014/main" id="{FE070BC8-8E91-4DAE-F70F-825C745E11E4}"/>
                </a:ext>
              </a:extLst>
            </p:cNvPr>
            <p:cNvGrpSpPr>
              <a:grpSpLocks noChangeAspect="1"/>
            </p:cNvGrpSpPr>
            <p:nvPr/>
          </p:nvGrpSpPr>
          <p:grpSpPr>
            <a:xfrm>
              <a:off x="4106518" y="5303713"/>
              <a:ext cx="386907" cy="386907"/>
              <a:chOff x="11331193" y="6228000"/>
              <a:chExt cx="386907" cy="386907"/>
            </a:xfrm>
          </p:grpSpPr>
          <p:sp>
            <p:nvSpPr>
              <p:cNvPr id="25" name="Freihandform: Form 92">
                <a:extLst>
                  <a:ext uri="{FF2B5EF4-FFF2-40B4-BE49-F238E27FC236}">
                    <a16:creationId xmlns:a16="http://schemas.microsoft.com/office/drawing/2014/main" id="{A757DB1E-9E99-D1EF-2EBF-6F2695B439A2}"/>
                  </a:ext>
                </a:extLst>
              </p:cNvPr>
              <p:cNvSpPr/>
              <p:nvPr userDrawn="1"/>
            </p:nvSpPr>
            <p:spPr>
              <a:xfrm>
                <a:off x="1133119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6" name="Grafik 25">
                <a:extLst>
                  <a:ext uri="{FF2B5EF4-FFF2-40B4-BE49-F238E27FC236}">
                    <a16:creationId xmlns:a16="http://schemas.microsoft.com/office/drawing/2014/main" id="{35B57161-D4AD-0347-0A11-721226B2A48A}"/>
                  </a:ext>
                </a:extLst>
              </p:cNvPr>
              <p:cNvPicPr>
                <a:picLocks noChangeAspect="1"/>
              </p:cNvPicPr>
              <p:nvPr userDrawn="1"/>
            </p:nvPicPr>
            <p:blipFill>
              <a:blip r:embed="rId14">
                <a:duotone>
                  <a:schemeClr val="accent1">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40000" contrast="-20000"/>
                        </a14:imgEffect>
                      </a14:imgLayer>
                    </a14:imgProps>
                  </a:ext>
                </a:extLst>
              </a:blip>
              <a:stretch>
                <a:fillRect/>
              </a:stretch>
            </p:blipFill>
            <p:spPr>
              <a:xfrm>
                <a:off x="11438013" y="6292452"/>
                <a:ext cx="243039" cy="241392"/>
              </a:xfrm>
              <a:prstGeom prst="rect">
                <a:avLst/>
              </a:prstGeom>
            </p:spPr>
          </p:pic>
        </p:grpSp>
        <p:grpSp>
          <p:nvGrpSpPr>
            <p:cNvPr id="13" name="Gruppieren 12">
              <a:extLst>
                <a:ext uri="{FF2B5EF4-FFF2-40B4-BE49-F238E27FC236}">
                  <a16:creationId xmlns:a16="http://schemas.microsoft.com/office/drawing/2014/main" id="{1358B388-AD50-EC15-807E-EBABDF5A0688}"/>
                </a:ext>
              </a:extLst>
            </p:cNvPr>
            <p:cNvGrpSpPr>
              <a:grpSpLocks noChangeAspect="1"/>
            </p:cNvGrpSpPr>
            <p:nvPr/>
          </p:nvGrpSpPr>
          <p:grpSpPr>
            <a:xfrm>
              <a:off x="1669951" y="5303713"/>
              <a:ext cx="386907" cy="386907"/>
              <a:chOff x="1669951" y="5303713"/>
              <a:chExt cx="386907" cy="386907"/>
            </a:xfrm>
          </p:grpSpPr>
          <p:sp>
            <p:nvSpPr>
              <p:cNvPr id="21" name="Freihandform: Form 14">
                <a:extLst>
                  <a:ext uri="{FF2B5EF4-FFF2-40B4-BE49-F238E27FC236}">
                    <a16:creationId xmlns:a16="http://schemas.microsoft.com/office/drawing/2014/main" id="{014E5488-2E58-E951-AC2B-1A97831FB7A5}"/>
                  </a:ext>
                </a:extLst>
              </p:cNvPr>
              <p:cNvSpPr/>
              <p:nvPr userDrawn="1"/>
            </p:nvSpPr>
            <p:spPr>
              <a:xfrm>
                <a:off x="1669951" y="5303713"/>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4" name="Grafik 23">
                <a:extLst>
                  <a:ext uri="{FF2B5EF4-FFF2-40B4-BE49-F238E27FC236}">
                    <a16:creationId xmlns:a16="http://schemas.microsoft.com/office/drawing/2014/main" id="{21B91863-BEC8-44C9-4C81-C0C0A44EFC4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748204" y="5381966"/>
                <a:ext cx="230400" cy="230400"/>
              </a:xfrm>
              <a:prstGeom prst="rect">
                <a:avLst/>
              </a:prstGeom>
            </p:spPr>
          </p:pic>
        </p:grpSp>
        <p:grpSp>
          <p:nvGrpSpPr>
            <p:cNvPr id="14" name="Gruppieren 13">
              <a:extLst>
                <a:ext uri="{FF2B5EF4-FFF2-40B4-BE49-F238E27FC236}">
                  <a16:creationId xmlns:a16="http://schemas.microsoft.com/office/drawing/2014/main" id="{945D0F1C-8997-6F85-D16D-7ED724A2B54A}"/>
                </a:ext>
              </a:extLst>
            </p:cNvPr>
            <p:cNvGrpSpPr>
              <a:grpSpLocks noChangeAspect="1"/>
            </p:cNvGrpSpPr>
            <p:nvPr/>
          </p:nvGrpSpPr>
          <p:grpSpPr>
            <a:xfrm>
              <a:off x="3131890" y="5303713"/>
              <a:ext cx="386907" cy="386907"/>
              <a:chOff x="3193916" y="5594898"/>
              <a:chExt cx="386907" cy="386907"/>
            </a:xfrm>
          </p:grpSpPr>
          <p:sp>
            <p:nvSpPr>
              <p:cNvPr id="15" name="Freihandform: Form 12">
                <a:extLst>
                  <a:ext uri="{FF2B5EF4-FFF2-40B4-BE49-F238E27FC236}">
                    <a16:creationId xmlns:a16="http://schemas.microsoft.com/office/drawing/2014/main" id="{06CD3154-1FFC-C093-DC5F-9C4F9D1B2218}"/>
                  </a:ext>
                </a:extLst>
              </p:cNvPr>
              <p:cNvSpPr/>
              <p:nvPr/>
            </p:nvSpPr>
            <p:spPr>
              <a:xfrm>
                <a:off x="3193916" y="5594898"/>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grpSp>
            <p:nvGrpSpPr>
              <p:cNvPr id="16" name="Gruppieren 15">
                <a:extLst>
                  <a:ext uri="{FF2B5EF4-FFF2-40B4-BE49-F238E27FC236}">
                    <a16:creationId xmlns:a16="http://schemas.microsoft.com/office/drawing/2014/main" id="{CEAC227D-CA30-01BF-48EC-21CF8B1C9EB6}"/>
                  </a:ext>
                </a:extLst>
              </p:cNvPr>
              <p:cNvGrpSpPr>
                <a:grpSpLocks noChangeAspect="1"/>
              </p:cNvGrpSpPr>
              <p:nvPr/>
            </p:nvGrpSpPr>
            <p:grpSpPr>
              <a:xfrm>
                <a:off x="3247714" y="5626351"/>
                <a:ext cx="279310" cy="324000"/>
                <a:chOff x="7212974" y="4586237"/>
                <a:chExt cx="1396551" cy="1620000"/>
              </a:xfrm>
            </p:grpSpPr>
            <p:sp>
              <p:nvSpPr>
                <p:cNvPr id="17" name="Freihandform: Form 16">
                  <a:extLst>
                    <a:ext uri="{FF2B5EF4-FFF2-40B4-BE49-F238E27FC236}">
                      <a16:creationId xmlns:a16="http://schemas.microsoft.com/office/drawing/2014/main" id="{D8158F5B-9FDB-93D8-2186-C8841DFC7B14}"/>
                    </a:ext>
                  </a:extLst>
                </p:cNvPr>
                <p:cNvSpPr>
                  <a:spLocks noChangeAspect="1"/>
                </p:cNvSpPr>
                <p:nvPr/>
              </p:nvSpPr>
              <p:spPr>
                <a:xfrm rot="5400000">
                  <a:off x="7101250" y="4697961"/>
                  <a:ext cx="1620000" cy="1396551"/>
                </a:xfrm>
                <a:custGeom>
                  <a:avLst/>
                  <a:gdLst>
                    <a:gd name="connsiteX0" fmla="*/ 202021 w 1574043"/>
                    <a:gd name="connsiteY0" fmla="*/ 678467 h 1356933"/>
                    <a:gd name="connsiteX1" fmla="*/ 491949 w 1574043"/>
                    <a:gd name="connsiteY1" fmla="*/ 1182777 h 1356933"/>
                    <a:gd name="connsiteX2" fmla="*/ 1082093 w 1574043"/>
                    <a:gd name="connsiteY2" fmla="*/ 1182777 h 1356933"/>
                    <a:gd name="connsiteX3" fmla="*/ 1372021 w 1574043"/>
                    <a:gd name="connsiteY3" fmla="*/ 678467 h 1356933"/>
                    <a:gd name="connsiteX4" fmla="*/ 1082093 w 1574043"/>
                    <a:gd name="connsiteY4" fmla="*/ 174157 h 1356933"/>
                    <a:gd name="connsiteX5" fmla="*/ 491949 w 1574043"/>
                    <a:gd name="connsiteY5" fmla="*/ 174157 h 1356933"/>
                    <a:gd name="connsiteX6" fmla="*/ 0 w 1574043"/>
                    <a:gd name="connsiteY6" fmla="*/ 678467 h 1356933"/>
                    <a:gd name="connsiteX7" fmla="*/ 390050 w 1574043"/>
                    <a:gd name="connsiteY7" fmla="*/ 0 h 1356933"/>
                    <a:gd name="connsiteX8" fmla="*/ 1183993 w 1574043"/>
                    <a:gd name="connsiteY8" fmla="*/ 0 h 1356933"/>
                    <a:gd name="connsiteX9" fmla="*/ 1574043 w 1574043"/>
                    <a:gd name="connsiteY9" fmla="*/ 678467 h 1356933"/>
                    <a:gd name="connsiteX10" fmla="*/ 1183993 w 1574043"/>
                    <a:gd name="connsiteY10" fmla="*/ 1356933 h 1356933"/>
                    <a:gd name="connsiteX11" fmla="*/ 390050 w 1574043"/>
                    <a:gd name="connsiteY11" fmla="*/ 1356933 h 13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4043" h="1356933">
                      <a:moveTo>
                        <a:pt x="202021" y="678467"/>
                      </a:moveTo>
                      <a:lnTo>
                        <a:pt x="491949" y="1182777"/>
                      </a:lnTo>
                      <a:lnTo>
                        <a:pt x="1082093" y="1182777"/>
                      </a:lnTo>
                      <a:lnTo>
                        <a:pt x="1372021" y="678467"/>
                      </a:lnTo>
                      <a:lnTo>
                        <a:pt x="1082093" y="174157"/>
                      </a:lnTo>
                      <a:lnTo>
                        <a:pt x="491949" y="174157"/>
                      </a:lnTo>
                      <a:close/>
                      <a:moveTo>
                        <a:pt x="0" y="678467"/>
                      </a:moveTo>
                      <a:lnTo>
                        <a:pt x="390050" y="0"/>
                      </a:lnTo>
                      <a:lnTo>
                        <a:pt x="1183993" y="0"/>
                      </a:lnTo>
                      <a:lnTo>
                        <a:pt x="1574043" y="678467"/>
                      </a:lnTo>
                      <a:lnTo>
                        <a:pt x="1183993" y="1356933"/>
                      </a:lnTo>
                      <a:lnTo>
                        <a:pt x="390050" y="13569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sp>
              <p:nvSpPr>
                <p:cNvPr id="18" name="Ellipse 17">
                  <a:extLst>
                    <a:ext uri="{FF2B5EF4-FFF2-40B4-BE49-F238E27FC236}">
                      <a16:creationId xmlns:a16="http://schemas.microsoft.com/office/drawing/2014/main" id="{46B48C89-238C-6AD0-7382-E864715A2B7E}"/>
                    </a:ext>
                  </a:extLst>
                </p:cNvPr>
                <p:cNvSpPr>
                  <a:spLocks noChangeAspect="1"/>
                </p:cNvSpPr>
                <p:nvPr/>
              </p:nvSpPr>
              <p:spPr>
                <a:xfrm>
                  <a:off x="7455156" y="5436313"/>
                  <a:ext cx="198000" cy="19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000" dirty="0">
                    <a:solidFill>
                      <a:schemeClr val="tx1"/>
                    </a:solidFill>
                  </a:endParaRPr>
                </a:p>
              </p:txBody>
            </p:sp>
            <p:sp>
              <p:nvSpPr>
                <p:cNvPr id="19" name="Freihandform: Form 18">
                  <a:extLst>
                    <a:ext uri="{FF2B5EF4-FFF2-40B4-BE49-F238E27FC236}">
                      <a16:creationId xmlns:a16="http://schemas.microsoft.com/office/drawing/2014/main" id="{9CEDF6F0-1DE0-16F6-4295-67E7E5B40D54}"/>
                    </a:ext>
                  </a:extLst>
                </p:cNvPr>
                <p:cNvSpPr>
                  <a:spLocks noChangeAspect="1"/>
                </p:cNvSpPr>
                <p:nvPr/>
              </p:nvSpPr>
              <p:spPr>
                <a:xfrm>
                  <a:off x="7632878" y="5066406"/>
                  <a:ext cx="586666" cy="590876"/>
                </a:xfrm>
                <a:custGeom>
                  <a:avLst/>
                  <a:gdLst>
                    <a:gd name="connsiteX0" fmla="*/ 293333 w 586666"/>
                    <a:gd name="connsiteY0" fmla="*/ 293499 h 590876"/>
                    <a:gd name="connsiteX1" fmla="*/ 225354 w 586666"/>
                    <a:gd name="connsiteY1" fmla="*/ 430433 h 590876"/>
                    <a:gd name="connsiteX2" fmla="*/ 361312 w 586666"/>
                    <a:gd name="connsiteY2" fmla="*/ 430433 h 590876"/>
                    <a:gd name="connsiteX3" fmla="*/ 293333 w 586666"/>
                    <a:gd name="connsiteY3" fmla="*/ 0 h 590876"/>
                    <a:gd name="connsiteX4" fmla="*/ 586666 w 586666"/>
                    <a:gd name="connsiteY4" fmla="*/ 590876 h 590876"/>
                    <a:gd name="connsiteX5" fmla="*/ 0 w 586666"/>
                    <a:gd name="connsiteY5" fmla="*/ 590876 h 59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666" h="590876">
                      <a:moveTo>
                        <a:pt x="293333" y="293499"/>
                      </a:moveTo>
                      <a:lnTo>
                        <a:pt x="225354" y="430433"/>
                      </a:lnTo>
                      <a:lnTo>
                        <a:pt x="361312" y="430433"/>
                      </a:lnTo>
                      <a:close/>
                      <a:moveTo>
                        <a:pt x="293333" y="0"/>
                      </a:moveTo>
                      <a:lnTo>
                        <a:pt x="586666" y="590876"/>
                      </a:lnTo>
                      <a:lnTo>
                        <a:pt x="0" y="590876"/>
                      </a:lnTo>
                      <a:close/>
                    </a:path>
                  </a:pathLst>
                </a:custGeom>
                <a:solidFill>
                  <a:schemeClr val="tx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grpSp>
        </p:grpSp>
      </p:grpSp>
      <p:sp>
        <p:nvSpPr>
          <p:cNvPr id="37" name="Textfeld 36">
            <a:extLst>
              <a:ext uri="{FF2B5EF4-FFF2-40B4-BE49-F238E27FC236}">
                <a16:creationId xmlns:a16="http://schemas.microsoft.com/office/drawing/2014/main" id="{D63C4044-DC9E-5EA7-0AC5-4F1FDF42DD88}"/>
              </a:ext>
            </a:extLst>
          </p:cNvPr>
          <p:cNvSpPr txBox="1"/>
          <p:nvPr userDrawn="1"/>
        </p:nvSpPr>
        <p:spPr>
          <a:xfrm>
            <a:off x="695324" y="6051105"/>
            <a:ext cx="2520000" cy="718402"/>
          </a:xfrm>
          <a:prstGeom prst="rect">
            <a:avLst/>
          </a:prstGeom>
          <a:noFill/>
        </p:spPr>
        <p:txBody>
          <a:bodyPr wrap="square" lIns="0" tIns="0" rIns="0" bIns="0" rtlCol="0" anchor="b" anchorCtr="0">
            <a:spAutoFit/>
          </a:bodyPr>
          <a:lstStyle/>
          <a:p>
            <a:pPr>
              <a:lnSpc>
                <a:spcPts val="1100"/>
              </a:lnSpc>
              <a:spcAft>
                <a:spcPts val="1100"/>
              </a:spcAft>
            </a:pPr>
            <a:r>
              <a:rPr lang="de-DE" sz="1250" b="0" i="0" dirty="0">
                <a:solidFill>
                  <a:srgbClr val="2DFA87"/>
                </a:solidFill>
                <a:latin typeface="+mn-lt"/>
                <a:ea typeface="ClanPro-MediumItalic" charset="0"/>
                <a:cs typeface="ClanPro-MediumItalic" charset="0"/>
              </a:rPr>
              <a:t>Accso – Accelerated Solutions GmbH</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49 6151 13029-0</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E</a:t>
            </a:r>
            <a:r>
              <a:rPr lang="de-DE" sz="1050" b="0" i="0" spc="-93"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info@accso.de</a:t>
            </a:r>
          </a:p>
          <a:p>
            <a:pPr>
              <a:lnSpc>
                <a:spcPts val="1100"/>
              </a:lnSpc>
              <a:tabLst>
                <a:tab pos="268288" algn="r"/>
                <a:tab pos="360363" algn="l"/>
              </a:tabLst>
            </a:pP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www.accso.de</a:t>
            </a:r>
          </a:p>
        </p:txBody>
      </p:sp>
      <p:sp>
        <p:nvSpPr>
          <p:cNvPr id="38" name="Textfeld 37">
            <a:extLst>
              <a:ext uri="{FF2B5EF4-FFF2-40B4-BE49-F238E27FC236}">
                <a16:creationId xmlns:a16="http://schemas.microsoft.com/office/drawing/2014/main" id="{1A26F0C9-DCEB-F6EA-F48A-2D339040F363}"/>
              </a:ext>
            </a:extLst>
          </p:cNvPr>
          <p:cNvSpPr txBox="1"/>
          <p:nvPr userDrawn="1"/>
        </p:nvSpPr>
        <p:spPr>
          <a:xfrm>
            <a:off x="3469369" y="6059120"/>
            <a:ext cx="3420000" cy="710387"/>
          </a:xfrm>
          <a:prstGeom prst="rect">
            <a:avLst/>
          </a:prstGeom>
          <a:noFill/>
        </p:spPr>
        <p:txBody>
          <a:bodyPr wrap="square" lIns="0" tIns="0" rIns="0" bIns="0" rtlCol="0" anchor="b" anchorCtr="0">
            <a:spAutoFit/>
          </a:bodyPr>
          <a:lstStyle/>
          <a:p>
            <a:pPr marL="0" indent="0">
              <a:lnSpc>
                <a:spcPts val="1100"/>
              </a:lnSpc>
              <a:tabLst>
                <a:tab pos="1076325" algn="r"/>
                <a:tab pos="1162050" algn="l"/>
              </a:tabLst>
            </a:pPr>
            <a:r>
              <a:rPr lang="de-DE" sz="1050" b="0" i="0" dirty="0">
                <a:solidFill>
                  <a:schemeClr val="bg1"/>
                </a:solidFill>
                <a:latin typeface="+mn-lt"/>
                <a:ea typeface="Clan Pro Buch" charset="0"/>
                <a:cs typeface="Clan Pro Buch" charset="0"/>
              </a:rPr>
              <a:t>Hilpertstraße 12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64295 Darmstadt</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Rahmhofstraße 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60313 Frankfurt a. M.</a:t>
            </a:r>
            <a:endParaRPr lang="it-IT" sz="1050" b="0" i="0" dirty="0">
              <a:solidFill>
                <a:schemeClr val="bg1"/>
              </a:solidFill>
              <a:latin typeface="+mn-lt"/>
              <a:ea typeface="Clan Pro Buch" charset="0"/>
              <a:cs typeface="Clan Pro Buch" charset="0"/>
            </a:endParaRP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Im </a:t>
            </a:r>
            <a:r>
              <a:rPr lang="it-IT" sz="1050" b="0" i="0" dirty="0" err="1">
                <a:solidFill>
                  <a:schemeClr val="bg1"/>
                </a:solidFill>
                <a:latin typeface="+mn-lt"/>
                <a:ea typeface="Clan Pro Buch" charset="0"/>
                <a:cs typeface="Clan Pro Buch" charset="0"/>
              </a:rPr>
              <a:t>Mediapark</a:t>
            </a:r>
            <a:r>
              <a:rPr lang="it-IT" sz="1050" b="0" i="0" dirty="0">
                <a:solidFill>
                  <a:schemeClr val="bg1"/>
                </a:solidFill>
                <a:latin typeface="+mn-lt"/>
                <a:ea typeface="Clan Pro Buch" charset="0"/>
                <a:cs typeface="Clan Pro Buch" charset="0"/>
              </a:rPr>
              <a:t> 6a</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dirty="0">
                <a:solidFill>
                  <a:schemeClr val="bg1"/>
                </a:solidFill>
                <a:latin typeface="+mn-lt"/>
                <a:ea typeface="Clan Pro Buch" charset="0"/>
                <a:cs typeface="Clan Pro Buch" charset="0"/>
              </a:rPr>
              <a:t>50670 Köln</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Balanstraße</a:t>
            </a:r>
            <a:r>
              <a:rPr lang="it-IT" sz="1050" b="0" i="0" baseline="0" dirty="0">
                <a:solidFill>
                  <a:schemeClr val="bg1"/>
                </a:solidFill>
                <a:latin typeface="+mn-lt"/>
                <a:ea typeface="Clan Pro Buch" charset="0"/>
                <a:cs typeface="Clan Pro Buch" charset="0"/>
              </a:rPr>
              <a:t> 55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baseline="0" dirty="0">
                <a:solidFill>
                  <a:schemeClr val="bg1"/>
                </a:solidFill>
                <a:latin typeface="+mn-lt"/>
                <a:ea typeface="Clan Pro Buch" charset="0"/>
                <a:cs typeface="Clan Pro Buch" charset="0"/>
              </a:rPr>
              <a:t>81541 München</a:t>
            </a:r>
          </a:p>
          <a:p>
            <a:pPr marL="0" marR="0" lvl="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spc="40" baseline="0" dirty="0">
                <a:solidFill>
                  <a:schemeClr val="bg1"/>
                </a:solidFill>
                <a:latin typeface="+mn-lt"/>
                <a:ea typeface="ClanPro-MediumItalic" charset="0"/>
                <a:cs typeface="ClanPro-MediumItalic" charset="0"/>
              </a:rPr>
              <a:t>Clocktower, 30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spc="0" baseline="0" dirty="0">
                <a:solidFill>
                  <a:schemeClr val="bg1"/>
                </a:solidFill>
                <a:latin typeface="+mn-lt"/>
                <a:ea typeface="Clan Pro Buch" charset="0"/>
                <a:cs typeface="Clan Pro Buch" charset="0"/>
              </a:rPr>
              <a:t>CV&amp;A Waterfront, Cape Town 8002, ZA</a:t>
            </a:r>
            <a:endParaRPr lang="it-IT" sz="1050" b="0" i="0" spc="0" dirty="0">
              <a:solidFill>
                <a:schemeClr val="bg1"/>
              </a:solidFill>
              <a:latin typeface="+mn-lt"/>
              <a:ea typeface="Clan Pro Buch" charset="0"/>
              <a:cs typeface="Clan Pro Buch" charset="0"/>
            </a:endParaRPr>
          </a:p>
        </p:txBody>
      </p:sp>
      <p:sp>
        <p:nvSpPr>
          <p:cNvPr id="4" name="Textplatzhalter 45">
            <a:extLst>
              <a:ext uri="{FF2B5EF4-FFF2-40B4-BE49-F238E27FC236}">
                <a16:creationId xmlns:a16="http://schemas.microsoft.com/office/drawing/2014/main" id="{ADFD5844-423B-7818-6342-E72BC3671CBD}"/>
              </a:ext>
            </a:extLst>
          </p:cNvPr>
          <p:cNvSpPr>
            <a:spLocks noGrp="1"/>
          </p:cNvSpPr>
          <p:nvPr>
            <p:ph type="body" sz="quarter" idx="15"/>
          </p:nvPr>
        </p:nvSpPr>
        <p:spPr bwMode="invGray">
          <a:xfrm>
            <a:off x="695325" y="497534"/>
            <a:ext cx="6300000" cy="1661595"/>
          </a:xfrm>
        </p:spPr>
        <p:txBody>
          <a:bodyPr anchor="t" anchorCtr="0"/>
          <a:lstStyle>
            <a:lvl1pPr>
              <a:lnSpc>
                <a:spcPct val="80000"/>
              </a:lnSpc>
              <a:spcBef>
                <a:spcPts val="0"/>
              </a:spcBef>
              <a:spcAft>
                <a:spcPts val="0"/>
              </a:spcAft>
              <a:defRPr sz="48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Bildplatzhalter 3">
            <a:extLst>
              <a:ext uri="{FF2B5EF4-FFF2-40B4-BE49-F238E27FC236}">
                <a16:creationId xmlns:a16="http://schemas.microsoft.com/office/drawing/2014/main" id="{915CEA62-81EB-396D-234A-FCC2CA45AE41}"/>
              </a:ext>
            </a:extLst>
          </p:cNvPr>
          <p:cNvSpPr>
            <a:spLocks noGrp="1" noChangeAspect="1"/>
          </p:cNvSpPr>
          <p:nvPr>
            <p:ph type="pic" sz="quarter" idx="20"/>
          </p:nvPr>
        </p:nvSpPr>
        <p:spPr>
          <a:xfrm>
            <a:off x="695325" y="2833985"/>
            <a:ext cx="1800275" cy="1671448"/>
          </a:xfrm>
          <a:solidFill>
            <a:schemeClr val="bg1">
              <a:lumMod val="95000"/>
            </a:schemeClr>
          </a:solidFill>
        </p:spPr>
        <p:txBody>
          <a:bodyPr vert="horz" lIns="0" tIns="0" rIns="0" bIns="0" rtlCol="0">
            <a:noAutofit/>
          </a:bodyPr>
          <a:lstStyle>
            <a:lvl1pPr>
              <a:defRPr lang="de-DE" dirty="0"/>
            </a:lvl1pPr>
          </a:lstStyle>
          <a:p>
            <a:pPr lvl="0"/>
            <a:r>
              <a:rPr lang="en-US"/>
              <a:t>Click icon to add picture</a:t>
            </a:r>
            <a:endParaRPr lang="de-DE" dirty="0"/>
          </a:p>
        </p:txBody>
      </p:sp>
      <p:sp>
        <p:nvSpPr>
          <p:cNvPr id="39" name="Textplatzhalter 10">
            <a:extLst>
              <a:ext uri="{FF2B5EF4-FFF2-40B4-BE49-F238E27FC236}">
                <a16:creationId xmlns:a16="http://schemas.microsoft.com/office/drawing/2014/main" id="{6E307D92-13BC-11F4-82EB-6CD1BA4F154F}"/>
              </a:ext>
            </a:extLst>
          </p:cNvPr>
          <p:cNvSpPr>
            <a:spLocks noGrp="1"/>
          </p:cNvSpPr>
          <p:nvPr>
            <p:ph type="body" sz="quarter" idx="21"/>
          </p:nvPr>
        </p:nvSpPr>
        <p:spPr bwMode="invGray">
          <a:xfrm>
            <a:off x="695324" y="4583898"/>
            <a:ext cx="3240000" cy="252000"/>
          </a:xfrm>
        </p:spPr>
        <p:txBody>
          <a:bodyPr/>
          <a:lstStyle>
            <a:lvl1pPr>
              <a:defRPr sz="1250" b="1">
                <a:solidFill>
                  <a:schemeClr val="bg1"/>
                </a:solidFill>
                <a:latin typeface="+mj-lt"/>
              </a:defRPr>
            </a:lvl1pPr>
            <a:lvl2pPr marL="0" indent="0">
              <a:buNone/>
              <a:defRPr/>
            </a:lvl2pPr>
          </a:lstStyle>
          <a:p>
            <a:pPr lvl="0"/>
            <a:r>
              <a:rPr lang="en-US"/>
              <a:t>Click to edit Master text styles</a:t>
            </a:r>
          </a:p>
        </p:txBody>
      </p:sp>
      <p:sp>
        <p:nvSpPr>
          <p:cNvPr id="40" name="Textplatzhalter 10">
            <a:extLst>
              <a:ext uri="{FF2B5EF4-FFF2-40B4-BE49-F238E27FC236}">
                <a16:creationId xmlns:a16="http://schemas.microsoft.com/office/drawing/2014/main" id="{C3CFC4D7-247E-5C5B-8FCC-BF1EF4B97DEB}"/>
              </a:ext>
            </a:extLst>
          </p:cNvPr>
          <p:cNvSpPr>
            <a:spLocks noGrp="1"/>
          </p:cNvSpPr>
          <p:nvPr>
            <p:ph type="body" sz="quarter" idx="27"/>
          </p:nvPr>
        </p:nvSpPr>
        <p:spPr bwMode="invGray">
          <a:xfrm>
            <a:off x="695324" y="4893259"/>
            <a:ext cx="3240000" cy="723691"/>
          </a:xfrm>
        </p:spPr>
        <p:txBody>
          <a:bodyPr/>
          <a:lstStyle>
            <a:lvl1pPr>
              <a:defRPr sz="1050">
                <a:solidFill>
                  <a:schemeClr val="bg1"/>
                </a:solidFill>
                <a:latin typeface="+mn-lt"/>
              </a:defRPr>
            </a:lvl1pPr>
            <a:lvl2pPr marL="0" indent="0">
              <a:buNone/>
              <a:defRPr/>
            </a:lvl2pPr>
          </a:lstStyle>
          <a:p>
            <a:pPr lvl="0"/>
            <a:r>
              <a:rPr lang="en-US"/>
              <a:t>Click to edit Master text styles</a:t>
            </a:r>
          </a:p>
        </p:txBody>
      </p:sp>
      <p:sp>
        <p:nvSpPr>
          <p:cNvPr id="41" name="Textplatzhalter 25">
            <a:extLst>
              <a:ext uri="{FF2B5EF4-FFF2-40B4-BE49-F238E27FC236}">
                <a16:creationId xmlns:a16="http://schemas.microsoft.com/office/drawing/2014/main" id="{C64BC948-A361-0753-E488-184772131E6B}"/>
              </a:ext>
            </a:extLst>
          </p:cNvPr>
          <p:cNvSpPr>
            <a:spLocks noGrp="1"/>
          </p:cNvSpPr>
          <p:nvPr>
            <p:ph type="body" sz="quarter" idx="32"/>
          </p:nvPr>
        </p:nvSpPr>
        <p:spPr bwMode="invGray">
          <a:xfrm>
            <a:off x="695323" y="2526819"/>
            <a:ext cx="6300000" cy="252001"/>
          </a:xfrm>
        </p:spPr>
        <p:txBody>
          <a:bodyPr/>
          <a:lstStyle>
            <a:lvl1pPr>
              <a:defRPr sz="1250" cap="none" baseline="0">
                <a:solidFill>
                  <a:schemeClr val="tx2"/>
                </a:solidFill>
                <a:latin typeface="+mj-lt"/>
              </a:defRPr>
            </a:lvl1pPr>
            <a:lvl2pPr>
              <a:defRPr cap="all" baseline="0">
                <a:solidFill>
                  <a:schemeClr val="accent1"/>
                </a:solidFill>
                <a:latin typeface="+mj-lt"/>
              </a:defRPr>
            </a:lvl2pPr>
            <a:lvl3pPr>
              <a:defRPr cap="all" baseline="0">
                <a:solidFill>
                  <a:schemeClr val="accent1"/>
                </a:solidFill>
                <a:latin typeface="+mj-lt"/>
              </a:defRPr>
            </a:lvl3pPr>
            <a:lvl4pPr>
              <a:defRPr cap="all" baseline="0">
                <a:solidFill>
                  <a:schemeClr val="accent1"/>
                </a:solidFill>
                <a:latin typeface="+mj-lt"/>
              </a:defRPr>
            </a:lvl4pPr>
            <a:lvl5pPr>
              <a:defRPr cap="all" baseline="0">
                <a:solidFill>
                  <a:schemeClr val="accent1"/>
                </a:solidFill>
                <a:latin typeface="+mj-lt"/>
              </a:defRPr>
            </a:lvl5pPr>
          </a:lstStyle>
          <a:p>
            <a:pPr lvl="0"/>
            <a:r>
              <a:rPr lang="en-US"/>
              <a:t>Click to edit Master text styles</a:t>
            </a:r>
          </a:p>
        </p:txBody>
      </p:sp>
    </p:spTree>
    <p:extLst>
      <p:ext uri="{BB962C8B-B14F-4D97-AF65-F5344CB8AC3E}">
        <p14:creationId xmlns:p14="http://schemas.microsoft.com/office/powerpoint/2010/main" val="3483353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 1">
    <p:bg>
      <p:bgPr>
        <a:solidFill>
          <a:srgbClr val="003C3C"/>
        </a:solidFill>
        <a:effectLst/>
      </p:bgPr>
    </p:bg>
    <p:spTree>
      <p:nvGrpSpPr>
        <p:cNvPr id="1" name=""/>
        <p:cNvGrpSpPr/>
        <p:nvPr/>
      </p:nvGrpSpPr>
      <p:grpSpPr>
        <a:xfrm>
          <a:off x="0" y="0"/>
          <a:ext cx="0" cy="0"/>
          <a:chOff x="0" y="0"/>
          <a:chExt cx="0" cy="0"/>
        </a:xfrm>
      </p:grpSpPr>
      <p:sp>
        <p:nvSpPr>
          <p:cNvPr id="16" name="Textplatzhalter 16">
            <a:extLst>
              <a:ext uri="{FF2B5EF4-FFF2-40B4-BE49-F238E27FC236}">
                <a16:creationId xmlns:a16="http://schemas.microsoft.com/office/drawing/2014/main" id="{BA6BFBA8-0E32-A588-53C1-7AE1726C7B00}"/>
              </a:ext>
            </a:extLst>
          </p:cNvPr>
          <p:cNvSpPr>
            <a:spLocks noGrp="1"/>
          </p:cNvSpPr>
          <p:nvPr>
            <p:ph type="body" sz="quarter" idx="20"/>
          </p:nvPr>
        </p:nvSpPr>
        <p:spPr bwMode="black">
          <a:xfrm>
            <a:off x="695325" y="1125538"/>
            <a:ext cx="10801349" cy="5183187"/>
          </a:xfrm>
        </p:spPr>
        <p:txBody>
          <a:bodyPr bIns="504000" anchor="ctr" anchorCtr="0"/>
          <a:lstStyle>
            <a:lvl1pPr algn="ctr">
              <a:defRPr sz="8000">
                <a:solidFill>
                  <a:srgbClr val="2DFA87"/>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pic>
        <p:nvPicPr>
          <p:cNvPr id="8" name="Grafik 7">
            <a:extLst>
              <a:ext uri="{FF2B5EF4-FFF2-40B4-BE49-F238E27FC236}">
                <a16:creationId xmlns:a16="http://schemas.microsoft.com/office/drawing/2014/main" id="{0A502CA4-62F4-86CA-434D-C844B485CB6E}"/>
              </a:ext>
            </a:extLst>
          </p:cNvPr>
          <p:cNvPicPr>
            <a:picLocks noChangeAspect="1"/>
          </p:cNvPicPr>
          <p:nvPr userDrawn="1"/>
        </p:nvPicPr>
        <p:blipFill>
          <a:blip r:embed="rId2"/>
          <a:stretch>
            <a:fillRect/>
          </a:stretch>
        </p:blipFill>
        <p:spPr>
          <a:xfrm>
            <a:off x="10613601" y="548680"/>
            <a:ext cx="912923" cy="210675"/>
          </a:xfrm>
          <a:prstGeom prst="rect">
            <a:avLst/>
          </a:prstGeom>
        </p:spPr>
      </p:pic>
    </p:spTree>
    <p:extLst>
      <p:ext uri="{BB962C8B-B14F-4D97-AF65-F5344CB8AC3E}">
        <p14:creationId xmlns:p14="http://schemas.microsoft.com/office/powerpoint/2010/main" val="479794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bschlussfolie 1">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10613601" y="548680"/>
            <a:ext cx="912923" cy="210675"/>
          </a:xfrm>
          <a:prstGeom prst="rect">
            <a:avLst/>
          </a:prstGeom>
        </p:spPr>
      </p:pic>
      <p:grpSp>
        <p:nvGrpSpPr>
          <p:cNvPr id="8" name="Gruppieren 7">
            <a:extLst>
              <a:ext uri="{FF2B5EF4-FFF2-40B4-BE49-F238E27FC236}">
                <a16:creationId xmlns:a16="http://schemas.microsoft.com/office/drawing/2014/main" id="{268EAD2E-0BCD-A435-DCD0-DABD178074C1}"/>
              </a:ext>
            </a:extLst>
          </p:cNvPr>
          <p:cNvGrpSpPr>
            <a:grpSpLocks noChangeAspect="1"/>
          </p:cNvGrpSpPr>
          <p:nvPr userDrawn="1"/>
        </p:nvGrpSpPr>
        <p:grpSpPr>
          <a:xfrm>
            <a:off x="7773258" y="6218539"/>
            <a:ext cx="3798100" cy="386907"/>
            <a:chOff x="695325" y="5303713"/>
            <a:chExt cx="3798100" cy="386907"/>
          </a:xfrm>
        </p:grpSpPr>
        <p:grpSp>
          <p:nvGrpSpPr>
            <p:cNvPr id="9" name="Gruppieren 8">
              <a:extLst>
                <a:ext uri="{FF2B5EF4-FFF2-40B4-BE49-F238E27FC236}">
                  <a16:creationId xmlns:a16="http://schemas.microsoft.com/office/drawing/2014/main" id="{32FA6960-F2B3-992F-9B1F-04D8F5683E9A}"/>
                </a:ext>
              </a:extLst>
            </p:cNvPr>
            <p:cNvGrpSpPr>
              <a:grpSpLocks noChangeAspect="1"/>
            </p:cNvGrpSpPr>
            <p:nvPr/>
          </p:nvGrpSpPr>
          <p:grpSpPr>
            <a:xfrm>
              <a:off x="695325" y="5303713"/>
              <a:ext cx="386907" cy="386907"/>
              <a:chOff x="7920000" y="6228000"/>
              <a:chExt cx="386907" cy="386907"/>
            </a:xfrm>
          </p:grpSpPr>
          <p:sp>
            <p:nvSpPr>
              <p:cNvPr id="35" name="Freihandform: Form 12">
                <a:extLst>
                  <a:ext uri="{FF2B5EF4-FFF2-40B4-BE49-F238E27FC236}">
                    <a16:creationId xmlns:a16="http://schemas.microsoft.com/office/drawing/2014/main" id="{5F1BFCEE-96DD-E932-A884-23A29CEF6BAA}"/>
                  </a:ext>
                </a:extLst>
              </p:cNvPr>
              <p:cNvSpPr/>
              <p:nvPr userDrawn="1"/>
            </p:nvSpPr>
            <p:spPr>
              <a:xfrm>
                <a:off x="7920000"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6" name="Grafik 35">
                <a:extLst>
                  <a:ext uri="{FF2B5EF4-FFF2-40B4-BE49-F238E27FC236}">
                    <a16:creationId xmlns:a16="http://schemas.microsoft.com/office/drawing/2014/main" id="{3392DBA3-B019-5FDD-756D-539B4E4877BA}"/>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4565" t="6043" r="23344" b="6314"/>
              <a:stretch/>
            </p:blipFill>
            <p:spPr>
              <a:xfrm>
                <a:off x="8038443" y="6295247"/>
                <a:ext cx="150020" cy="252412"/>
              </a:xfrm>
              <a:prstGeom prst="rect">
                <a:avLst/>
              </a:prstGeom>
            </p:spPr>
          </p:pic>
        </p:grpSp>
        <p:grpSp>
          <p:nvGrpSpPr>
            <p:cNvPr id="10" name="Gruppieren 9">
              <a:extLst>
                <a:ext uri="{FF2B5EF4-FFF2-40B4-BE49-F238E27FC236}">
                  <a16:creationId xmlns:a16="http://schemas.microsoft.com/office/drawing/2014/main" id="{D13C7824-1EEC-2E25-9C88-BE315B3EEFF9}"/>
                </a:ext>
              </a:extLst>
            </p:cNvPr>
            <p:cNvGrpSpPr>
              <a:grpSpLocks noChangeAspect="1"/>
            </p:cNvGrpSpPr>
            <p:nvPr/>
          </p:nvGrpSpPr>
          <p:grpSpPr>
            <a:xfrm>
              <a:off x="2157264" y="5303713"/>
              <a:ext cx="386907" cy="386907"/>
              <a:chOff x="9381939" y="6228000"/>
              <a:chExt cx="386907" cy="386907"/>
            </a:xfrm>
          </p:grpSpPr>
          <p:sp>
            <p:nvSpPr>
              <p:cNvPr id="33" name="Freihandform: Form 15">
                <a:extLst>
                  <a:ext uri="{FF2B5EF4-FFF2-40B4-BE49-F238E27FC236}">
                    <a16:creationId xmlns:a16="http://schemas.microsoft.com/office/drawing/2014/main" id="{DFD6DA13-11C6-ACA1-490E-6408678F952C}"/>
                  </a:ext>
                </a:extLst>
              </p:cNvPr>
              <p:cNvSpPr/>
              <p:nvPr userDrawn="1"/>
            </p:nvSpPr>
            <p:spPr>
              <a:xfrm>
                <a:off x="9381939"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4" name="Grafik 33">
                <a:extLst>
                  <a:ext uri="{FF2B5EF4-FFF2-40B4-BE49-F238E27FC236}">
                    <a16:creationId xmlns:a16="http://schemas.microsoft.com/office/drawing/2014/main" id="{431384A7-597D-7DDE-9CA8-8ED81AA5BA3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70209" y="6304363"/>
                <a:ext cx="210366" cy="210366"/>
              </a:xfrm>
              <a:prstGeom prst="rect">
                <a:avLst/>
              </a:prstGeom>
            </p:spPr>
          </p:pic>
        </p:grpSp>
        <p:grpSp>
          <p:nvGrpSpPr>
            <p:cNvPr id="11" name="Gruppieren 10">
              <a:extLst>
                <a:ext uri="{FF2B5EF4-FFF2-40B4-BE49-F238E27FC236}">
                  <a16:creationId xmlns:a16="http://schemas.microsoft.com/office/drawing/2014/main" id="{40F56171-A9BE-CF19-97EE-02437A020BE3}"/>
                </a:ext>
              </a:extLst>
            </p:cNvPr>
            <p:cNvGrpSpPr>
              <a:grpSpLocks noChangeAspect="1"/>
            </p:cNvGrpSpPr>
            <p:nvPr/>
          </p:nvGrpSpPr>
          <p:grpSpPr>
            <a:xfrm>
              <a:off x="1182638" y="5303713"/>
              <a:ext cx="386907" cy="386907"/>
              <a:chOff x="8407313" y="6228000"/>
              <a:chExt cx="386907" cy="386907"/>
            </a:xfrm>
          </p:grpSpPr>
          <p:sp>
            <p:nvSpPr>
              <p:cNvPr id="31" name="Freihandform: Form 13">
                <a:extLst>
                  <a:ext uri="{FF2B5EF4-FFF2-40B4-BE49-F238E27FC236}">
                    <a16:creationId xmlns:a16="http://schemas.microsoft.com/office/drawing/2014/main" id="{765EAF00-B9F4-E028-A066-3039F0892912}"/>
                  </a:ext>
                </a:extLst>
              </p:cNvPr>
              <p:cNvSpPr/>
              <p:nvPr userDrawn="1"/>
            </p:nvSpPr>
            <p:spPr>
              <a:xfrm>
                <a:off x="840731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2" name="Grafik 31">
                <a:extLst>
                  <a:ext uri="{FF2B5EF4-FFF2-40B4-BE49-F238E27FC236}">
                    <a16:creationId xmlns:a16="http://schemas.microsoft.com/office/drawing/2014/main" id="{B349C245-E99F-EEB0-3490-6888BC8033E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93072" y="6305793"/>
                <a:ext cx="231321" cy="231321"/>
              </a:xfrm>
              <a:prstGeom prst="rect">
                <a:avLst/>
              </a:prstGeom>
            </p:spPr>
          </p:pic>
        </p:grpSp>
        <p:grpSp>
          <p:nvGrpSpPr>
            <p:cNvPr id="12" name="Gruppieren 11">
              <a:extLst>
                <a:ext uri="{FF2B5EF4-FFF2-40B4-BE49-F238E27FC236}">
                  <a16:creationId xmlns:a16="http://schemas.microsoft.com/office/drawing/2014/main" id="{B12FBA38-EF2C-A1D9-3509-E639264E7D76}"/>
                </a:ext>
              </a:extLst>
            </p:cNvPr>
            <p:cNvGrpSpPr>
              <a:grpSpLocks noChangeAspect="1"/>
            </p:cNvGrpSpPr>
            <p:nvPr/>
          </p:nvGrpSpPr>
          <p:grpSpPr>
            <a:xfrm>
              <a:off x="3619203" y="5303713"/>
              <a:ext cx="386907" cy="386907"/>
              <a:chOff x="10843878" y="6228000"/>
              <a:chExt cx="386907" cy="386907"/>
            </a:xfrm>
          </p:grpSpPr>
          <p:sp>
            <p:nvSpPr>
              <p:cNvPr id="29" name="Freihandform: Form 91">
                <a:extLst>
                  <a:ext uri="{FF2B5EF4-FFF2-40B4-BE49-F238E27FC236}">
                    <a16:creationId xmlns:a16="http://schemas.microsoft.com/office/drawing/2014/main" id="{D1CC84ED-D0E9-ABCA-983F-C7B360960D60}"/>
                  </a:ext>
                </a:extLst>
              </p:cNvPr>
              <p:cNvSpPr/>
              <p:nvPr userDrawn="1"/>
            </p:nvSpPr>
            <p:spPr>
              <a:xfrm>
                <a:off x="10843878"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0" name="Grafik 29">
                <a:extLst>
                  <a:ext uri="{FF2B5EF4-FFF2-40B4-BE49-F238E27FC236}">
                    <a16:creationId xmlns:a16="http://schemas.microsoft.com/office/drawing/2014/main" id="{E646BD40-72E8-1FDF-871B-79C0D4B6F61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929331" y="6320523"/>
                <a:ext cx="216000" cy="216000"/>
              </a:xfrm>
              <a:prstGeom prst="rect">
                <a:avLst/>
              </a:prstGeom>
            </p:spPr>
          </p:pic>
        </p:grpSp>
        <p:grpSp>
          <p:nvGrpSpPr>
            <p:cNvPr id="13" name="Gruppieren 12">
              <a:extLst>
                <a:ext uri="{FF2B5EF4-FFF2-40B4-BE49-F238E27FC236}">
                  <a16:creationId xmlns:a16="http://schemas.microsoft.com/office/drawing/2014/main" id="{1270357A-8200-12DD-0BEC-461E7A5A8DF7}"/>
                </a:ext>
              </a:extLst>
            </p:cNvPr>
            <p:cNvGrpSpPr>
              <a:grpSpLocks noChangeAspect="1"/>
            </p:cNvGrpSpPr>
            <p:nvPr/>
          </p:nvGrpSpPr>
          <p:grpSpPr>
            <a:xfrm>
              <a:off x="2644577" y="5303713"/>
              <a:ext cx="386907" cy="386907"/>
              <a:chOff x="9869252" y="6228000"/>
              <a:chExt cx="386907" cy="386907"/>
            </a:xfrm>
          </p:grpSpPr>
          <p:sp>
            <p:nvSpPr>
              <p:cNvPr id="27" name="Freihandform: Form 16">
                <a:extLst>
                  <a:ext uri="{FF2B5EF4-FFF2-40B4-BE49-F238E27FC236}">
                    <a16:creationId xmlns:a16="http://schemas.microsoft.com/office/drawing/2014/main" id="{4C5F5EBB-DA8A-0346-21C1-25A661C700FE}"/>
                  </a:ext>
                </a:extLst>
              </p:cNvPr>
              <p:cNvSpPr/>
              <p:nvPr userDrawn="1"/>
            </p:nvSpPr>
            <p:spPr>
              <a:xfrm>
                <a:off x="9869252"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8" name="Grafik 27">
                <a:extLst>
                  <a:ext uri="{FF2B5EF4-FFF2-40B4-BE49-F238E27FC236}">
                    <a16:creationId xmlns:a16="http://schemas.microsoft.com/office/drawing/2014/main" id="{506245D1-708E-367B-99BC-35E690A80433}"/>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9938347" y="6297095"/>
                <a:ext cx="248716" cy="248716"/>
              </a:xfrm>
              <a:prstGeom prst="rect">
                <a:avLst/>
              </a:prstGeom>
            </p:spPr>
          </p:pic>
        </p:grpSp>
        <p:grpSp>
          <p:nvGrpSpPr>
            <p:cNvPr id="14" name="Gruppieren 13">
              <a:extLst>
                <a:ext uri="{FF2B5EF4-FFF2-40B4-BE49-F238E27FC236}">
                  <a16:creationId xmlns:a16="http://schemas.microsoft.com/office/drawing/2014/main" id="{1A207C9D-9ED1-AC31-7F9F-C71496EC0A56}"/>
                </a:ext>
              </a:extLst>
            </p:cNvPr>
            <p:cNvGrpSpPr>
              <a:grpSpLocks noChangeAspect="1"/>
            </p:cNvGrpSpPr>
            <p:nvPr/>
          </p:nvGrpSpPr>
          <p:grpSpPr>
            <a:xfrm>
              <a:off x="4106518" y="5303713"/>
              <a:ext cx="386907" cy="386907"/>
              <a:chOff x="11331193" y="6228000"/>
              <a:chExt cx="386907" cy="386907"/>
            </a:xfrm>
          </p:grpSpPr>
          <p:sp>
            <p:nvSpPr>
              <p:cNvPr id="25" name="Freihandform: Form 92">
                <a:extLst>
                  <a:ext uri="{FF2B5EF4-FFF2-40B4-BE49-F238E27FC236}">
                    <a16:creationId xmlns:a16="http://schemas.microsoft.com/office/drawing/2014/main" id="{AB211BCA-6241-C950-BC09-8B489177266A}"/>
                  </a:ext>
                </a:extLst>
              </p:cNvPr>
              <p:cNvSpPr/>
              <p:nvPr userDrawn="1"/>
            </p:nvSpPr>
            <p:spPr>
              <a:xfrm>
                <a:off x="1133119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6" name="Grafik 25">
                <a:extLst>
                  <a:ext uri="{FF2B5EF4-FFF2-40B4-BE49-F238E27FC236}">
                    <a16:creationId xmlns:a16="http://schemas.microsoft.com/office/drawing/2014/main" id="{191A8BDF-05B3-E6CA-24EB-52AD4AC74D31}"/>
                  </a:ext>
                </a:extLst>
              </p:cNvPr>
              <p:cNvPicPr>
                <a:picLocks noChangeAspect="1"/>
              </p:cNvPicPr>
              <p:nvPr userDrawn="1"/>
            </p:nvPicPr>
            <p:blipFill>
              <a:blip r:embed="rId13">
                <a:duotone>
                  <a:schemeClr val="accent1">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40000" contrast="-20000"/>
                        </a14:imgEffect>
                      </a14:imgLayer>
                    </a14:imgProps>
                  </a:ext>
                </a:extLst>
              </a:blip>
              <a:stretch>
                <a:fillRect/>
              </a:stretch>
            </p:blipFill>
            <p:spPr>
              <a:xfrm>
                <a:off x="11438013" y="6292452"/>
                <a:ext cx="243039" cy="241392"/>
              </a:xfrm>
              <a:prstGeom prst="rect">
                <a:avLst/>
              </a:prstGeom>
            </p:spPr>
          </p:pic>
        </p:grpSp>
        <p:grpSp>
          <p:nvGrpSpPr>
            <p:cNvPr id="15" name="Gruppieren 14">
              <a:extLst>
                <a:ext uri="{FF2B5EF4-FFF2-40B4-BE49-F238E27FC236}">
                  <a16:creationId xmlns:a16="http://schemas.microsoft.com/office/drawing/2014/main" id="{A4378B72-E457-CC82-DF45-3E415895D5E4}"/>
                </a:ext>
              </a:extLst>
            </p:cNvPr>
            <p:cNvGrpSpPr>
              <a:grpSpLocks noChangeAspect="1"/>
            </p:cNvGrpSpPr>
            <p:nvPr/>
          </p:nvGrpSpPr>
          <p:grpSpPr>
            <a:xfrm>
              <a:off x="1669951" y="5303713"/>
              <a:ext cx="386907" cy="386907"/>
              <a:chOff x="1669951" y="5303713"/>
              <a:chExt cx="386907" cy="386907"/>
            </a:xfrm>
          </p:grpSpPr>
          <p:sp>
            <p:nvSpPr>
              <p:cNvPr id="23" name="Freihandform: Form 14">
                <a:extLst>
                  <a:ext uri="{FF2B5EF4-FFF2-40B4-BE49-F238E27FC236}">
                    <a16:creationId xmlns:a16="http://schemas.microsoft.com/office/drawing/2014/main" id="{3D619045-057D-6F5B-D80F-3343FB445095}"/>
                  </a:ext>
                </a:extLst>
              </p:cNvPr>
              <p:cNvSpPr/>
              <p:nvPr userDrawn="1"/>
            </p:nvSpPr>
            <p:spPr>
              <a:xfrm>
                <a:off x="1669951" y="5303713"/>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4" name="Grafik 23">
                <a:extLst>
                  <a:ext uri="{FF2B5EF4-FFF2-40B4-BE49-F238E27FC236}">
                    <a16:creationId xmlns:a16="http://schemas.microsoft.com/office/drawing/2014/main" id="{62437BE5-53C3-DE54-CFE2-B2B542D89FA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48204" y="5381966"/>
                <a:ext cx="230400" cy="230400"/>
              </a:xfrm>
              <a:prstGeom prst="rect">
                <a:avLst/>
              </a:prstGeom>
            </p:spPr>
          </p:pic>
        </p:grpSp>
        <p:grpSp>
          <p:nvGrpSpPr>
            <p:cNvPr id="16" name="Gruppieren 15">
              <a:extLst>
                <a:ext uri="{FF2B5EF4-FFF2-40B4-BE49-F238E27FC236}">
                  <a16:creationId xmlns:a16="http://schemas.microsoft.com/office/drawing/2014/main" id="{5E515260-1F4D-192B-3AA6-E37B0E0685FB}"/>
                </a:ext>
              </a:extLst>
            </p:cNvPr>
            <p:cNvGrpSpPr>
              <a:grpSpLocks noChangeAspect="1"/>
            </p:cNvGrpSpPr>
            <p:nvPr/>
          </p:nvGrpSpPr>
          <p:grpSpPr>
            <a:xfrm>
              <a:off x="3131890" y="5303713"/>
              <a:ext cx="386907" cy="386907"/>
              <a:chOff x="3193916" y="5594898"/>
              <a:chExt cx="386907" cy="386907"/>
            </a:xfrm>
          </p:grpSpPr>
          <p:sp>
            <p:nvSpPr>
              <p:cNvPr id="17" name="Freihandform: Form 12">
                <a:extLst>
                  <a:ext uri="{FF2B5EF4-FFF2-40B4-BE49-F238E27FC236}">
                    <a16:creationId xmlns:a16="http://schemas.microsoft.com/office/drawing/2014/main" id="{716DE30A-C1BA-AFDD-6984-50796693AAB2}"/>
                  </a:ext>
                </a:extLst>
              </p:cNvPr>
              <p:cNvSpPr/>
              <p:nvPr/>
            </p:nvSpPr>
            <p:spPr>
              <a:xfrm>
                <a:off x="3193916" y="5594898"/>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grpSp>
            <p:nvGrpSpPr>
              <p:cNvPr id="18" name="Gruppieren 17">
                <a:extLst>
                  <a:ext uri="{FF2B5EF4-FFF2-40B4-BE49-F238E27FC236}">
                    <a16:creationId xmlns:a16="http://schemas.microsoft.com/office/drawing/2014/main" id="{FBDA723E-DF41-BD3A-EE0D-820B29A977A3}"/>
                  </a:ext>
                </a:extLst>
              </p:cNvPr>
              <p:cNvGrpSpPr>
                <a:grpSpLocks noChangeAspect="1"/>
              </p:cNvGrpSpPr>
              <p:nvPr/>
            </p:nvGrpSpPr>
            <p:grpSpPr>
              <a:xfrm>
                <a:off x="3247714" y="5626351"/>
                <a:ext cx="279310" cy="324000"/>
                <a:chOff x="7212974" y="4586237"/>
                <a:chExt cx="1396551" cy="1620000"/>
              </a:xfrm>
            </p:grpSpPr>
            <p:sp>
              <p:nvSpPr>
                <p:cNvPr id="19" name="Freihandform: Form 16">
                  <a:extLst>
                    <a:ext uri="{FF2B5EF4-FFF2-40B4-BE49-F238E27FC236}">
                      <a16:creationId xmlns:a16="http://schemas.microsoft.com/office/drawing/2014/main" id="{2E70A874-F305-F5BB-C08C-187FFF5E9253}"/>
                    </a:ext>
                  </a:extLst>
                </p:cNvPr>
                <p:cNvSpPr>
                  <a:spLocks noChangeAspect="1"/>
                </p:cNvSpPr>
                <p:nvPr/>
              </p:nvSpPr>
              <p:spPr>
                <a:xfrm rot="5400000">
                  <a:off x="7101250" y="4697961"/>
                  <a:ext cx="1620000" cy="1396551"/>
                </a:xfrm>
                <a:custGeom>
                  <a:avLst/>
                  <a:gdLst>
                    <a:gd name="connsiteX0" fmla="*/ 202021 w 1574043"/>
                    <a:gd name="connsiteY0" fmla="*/ 678467 h 1356933"/>
                    <a:gd name="connsiteX1" fmla="*/ 491949 w 1574043"/>
                    <a:gd name="connsiteY1" fmla="*/ 1182777 h 1356933"/>
                    <a:gd name="connsiteX2" fmla="*/ 1082093 w 1574043"/>
                    <a:gd name="connsiteY2" fmla="*/ 1182777 h 1356933"/>
                    <a:gd name="connsiteX3" fmla="*/ 1372021 w 1574043"/>
                    <a:gd name="connsiteY3" fmla="*/ 678467 h 1356933"/>
                    <a:gd name="connsiteX4" fmla="*/ 1082093 w 1574043"/>
                    <a:gd name="connsiteY4" fmla="*/ 174157 h 1356933"/>
                    <a:gd name="connsiteX5" fmla="*/ 491949 w 1574043"/>
                    <a:gd name="connsiteY5" fmla="*/ 174157 h 1356933"/>
                    <a:gd name="connsiteX6" fmla="*/ 0 w 1574043"/>
                    <a:gd name="connsiteY6" fmla="*/ 678467 h 1356933"/>
                    <a:gd name="connsiteX7" fmla="*/ 390050 w 1574043"/>
                    <a:gd name="connsiteY7" fmla="*/ 0 h 1356933"/>
                    <a:gd name="connsiteX8" fmla="*/ 1183993 w 1574043"/>
                    <a:gd name="connsiteY8" fmla="*/ 0 h 1356933"/>
                    <a:gd name="connsiteX9" fmla="*/ 1574043 w 1574043"/>
                    <a:gd name="connsiteY9" fmla="*/ 678467 h 1356933"/>
                    <a:gd name="connsiteX10" fmla="*/ 1183993 w 1574043"/>
                    <a:gd name="connsiteY10" fmla="*/ 1356933 h 1356933"/>
                    <a:gd name="connsiteX11" fmla="*/ 390050 w 1574043"/>
                    <a:gd name="connsiteY11" fmla="*/ 1356933 h 13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4043" h="1356933">
                      <a:moveTo>
                        <a:pt x="202021" y="678467"/>
                      </a:moveTo>
                      <a:lnTo>
                        <a:pt x="491949" y="1182777"/>
                      </a:lnTo>
                      <a:lnTo>
                        <a:pt x="1082093" y="1182777"/>
                      </a:lnTo>
                      <a:lnTo>
                        <a:pt x="1372021" y="678467"/>
                      </a:lnTo>
                      <a:lnTo>
                        <a:pt x="1082093" y="174157"/>
                      </a:lnTo>
                      <a:lnTo>
                        <a:pt x="491949" y="174157"/>
                      </a:lnTo>
                      <a:close/>
                      <a:moveTo>
                        <a:pt x="0" y="678467"/>
                      </a:moveTo>
                      <a:lnTo>
                        <a:pt x="390050" y="0"/>
                      </a:lnTo>
                      <a:lnTo>
                        <a:pt x="1183993" y="0"/>
                      </a:lnTo>
                      <a:lnTo>
                        <a:pt x="1574043" y="678467"/>
                      </a:lnTo>
                      <a:lnTo>
                        <a:pt x="1183993" y="1356933"/>
                      </a:lnTo>
                      <a:lnTo>
                        <a:pt x="390050" y="13569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sp>
              <p:nvSpPr>
                <p:cNvPr id="21" name="Ellipse 17">
                  <a:extLst>
                    <a:ext uri="{FF2B5EF4-FFF2-40B4-BE49-F238E27FC236}">
                      <a16:creationId xmlns:a16="http://schemas.microsoft.com/office/drawing/2014/main" id="{6AA26EB4-4E0D-0FC8-A07D-136D47455CDE}"/>
                    </a:ext>
                  </a:extLst>
                </p:cNvPr>
                <p:cNvSpPr>
                  <a:spLocks noChangeAspect="1"/>
                </p:cNvSpPr>
                <p:nvPr/>
              </p:nvSpPr>
              <p:spPr>
                <a:xfrm>
                  <a:off x="7455156" y="5436313"/>
                  <a:ext cx="198000" cy="19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000" dirty="0">
                    <a:solidFill>
                      <a:schemeClr val="tx1"/>
                    </a:solidFill>
                  </a:endParaRPr>
                </a:p>
              </p:txBody>
            </p:sp>
            <p:sp>
              <p:nvSpPr>
                <p:cNvPr id="22" name="Freihandform: Form 18">
                  <a:extLst>
                    <a:ext uri="{FF2B5EF4-FFF2-40B4-BE49-F238E27FC236}">
                      <a16:creationId xmlns:a16="http://schemas.microsoft.com/office/drawing/2014/main" id="{AE9B886F-6BBB-8197-A75C-BCA9DEDAC449}"/>
                    </a:ext>
                  </a:extLst>
                </p:cNvPr>
                <p:cNvSpPr>
                  <a:spLocks noChangeAspect="1"/>
                </p:cNvSpPr>
                <p:nvPr/>
              </p:nvSpPr>
              <p:spPr>
                <a:xfrm>
                  <a:off x="7632878" y="5066406"/>
                  <a:ext cx="586666" cy="590876"/>
                </a:xfrm>
                <a:custGeom>
                  <a:avLst/>
                  <a:gdLst>
                    <a:gd name="connsiteX0" fmla="*/ 293333 w 586666"/>
                    <a:gd name="connsiteY0" fmla="*/ 293499 h 590876"/>
                    <a:gd name="connsiteX1" fmla="*/ 225354 w 586666"/>
                    <a:gd name="connsiteY1" fmla="*/ 430433 h 590876"/>
                    <a:gd name="connsiteX2" fmla="*/ 361312 w 586666"/>
                    <a:gd name="connsiteY2" fmla="*/ 430433 h 590876"/>
                    <a:gd name="connsiteX3" fmla="*/ 293333 w 586666"/>
                    <a:gd name="connsiteY3" fmla="*/ 0 h 590876"/>
                    <a:gd name="connsiteX4" fmla="*/ 586666 w 586666"/>
                    <a:gd name="connsiteY4" fmla="*/ 590876 h 590876"/>
                    <a:gd name="connsiteX5" fmla="*/ 0 w 586666"/>
                    <a:gd name="connsiteY5" fmla="*/ 590876 h 59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666" h="590876">
                      <a:moveTo>
                        <a:pt x="293333" y="293499"/>
                      </a:moveTo>
                      <a:lnTo>
                        <a:pt x="225354" y="430433"/>
                      </a:lnTo>
                      <a:lnTo>
                        <a:pt x="361312" y="430433"/>
                      </a:lnTo>
                      <a:close/>
                      <a:moveTo>
                        <a:pt x="293333" y="0"/>
                      </a:moveTo>
                      <a:lnTo>
                        <a:pt x="586666" y="590876"/>
                      </a:lnTo>
                      <a:lnTo>
                        <a:pt x="0" y="590876"/>
                      </a:lnTo>
                      <a:close/>
                    </a:path>
                  </a:pathLst>
                </a:custGeom>
                <a:solidFill>
                  <a:schemeClr val="tx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grpSp>
        </p:grpSp>
      </p:grpSp>
      <p:sp>
        <p:nvSpPr>
          <p:cNvPr id="37" name="Textfeld 36">
            <a:extLst>
              <a:ext uri="{FF2B5EF4-FFF2-40B4-BE49-F238E27FC236}">
                <a16:creationId xmlns:a16="http://schemas.microsoft.com/office/drawing/2014/main" id="{127479D1-94B1-2136-09F6-EAFA3A6FCD4B}"/>
              </a:ext>
            </a:extLst>
          </p:cNvPr>
          <p:cNvSpPr txBox="1"/>
          <p:nvPr userDrawn="1"/>
        </p:nvSpPr>
        <p:spPr>
          <a:xfrm>
            <a:off x="695324" y="6051105"/>
            <a:ext cx="2520000" cy="718402"/>
          </a:xfrm>
          <a:prstGeom prst="rect">
            <a:avLst/>
          </a:prstGeom>
          <a:noFill/>
        </p:spPr>
        <p:txBody>
          <a:bodyPr wrap="square" lIns="0" tIns="0" rIns="0" bIns="0" rtlCol="0" anchor="b" anchorCtr="0">
            <a:spAutoFit/>
          </a:bodyPr>
          <a:lstStyle/>
          <a:p>
            <a:pPr>
              <a:lnSpc>
                <a:spcPts val="1100"/>
              </a:lnSpc>
              <a:spcAft>
                <a:spcPts val="1100"/>
              </a:spcAft>
            </a:pPr>
            <a:r>
              <a:rPr lang="de-DE" sz="1250" b="0" i="0" dirty="0">
                <a:solidFill>
                  <a:srgbClr val="2DFA87"/>
                </a:solidFill>
                <a:latin typeface="+mn-lt"/>
                <a:ea typeface="ClanPro-MediumItalic" charset="0"/>
                <a:cs typeface="ClanPro-MediumItalic" charset="0"/>
              </a:rPr>
              <a:t>Accso – Accelerated Solutions GmbH</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49 6151 13029-0</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E</a:t>
            </a:r>
            <a:r>
              <a:rPr lang="de-DE" sz="1050" b="0" i="0" spc="-93"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info@accso.de</a:t>
            </a:r>
          </a:p>
          <a:p>
            <a:pPr>
              <a:lnSpc>
                <a:spcPts val="1100"/>
              </a:lnSpc>
              <a:tabLst>
                <a:tab pos="268288" algn="r"/>
                <a:tab pos="360363" algn="l"/>
              </a:tabLst>
            </a:pP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www.accso.de</a:t>
            </a:r>
          </a:p>
        </p:txBody>
      </p:sp>
      <p:sp>
        <p:nvSpPr>
          <p:cNvPr id="38" name="Textfeld 37">
            <a:extLst>
              <a:ext uri="{FF2B5EF4-FFF2-40B4-BE49-F238E27FC236}">
                <a16:creationId xmlns:a16="http://schemas.microsoft.com/office/drawing/2014/main" id="{F8C8F2F2-F225-6BC1-1DD9-2A27565F7AD3}"/>
              </a:ext>
            </a:extLst>
          </p:cNvPr>
          <p:cNvSpPr txBox="1"/>
          <p:nvPr userDrawn="1"/>
        </p:nvSpPr>
        <p:spPr>
          <a:xfrm>
            <a:off x="3469369" y="6059120"/>
            <a:ext cx="3420000" cy="710387"/>
          </a:xfrm>
          <a:prstGeom prst="rect">
            <a:avLst/>
          </a:prstGeom>
          <a:noFill/>
        </p:spPr>
        <p:txBody>
          <a:bodyPr wrap="square" lIns="0" tIns="0" rIns="0" bIns="0" rtlCol="0" anchor="b" anchorCtr="0">
            <a:spAutoFit/>
          </a:bodyPr>
          <a:lstStyle/>
          <a:p>
            <a:pPr marL="0" indent="0">
              <a:lnSpc>
                <a:spcPts val="1100"/>
              </a:lnSpc>
              <a:tabLst>
                <a:tab pos="1076325" algn="r"/>
                <a:tab pos="1162050" algn="l"/>
              </a:tabLst>
            </a:pPr>
            <a:r>
              <a:rPr lang="de-DE" sz="1050" b="0" i="0" dirty="0">
                <a:solidFill>
                  <a:schemeClr val="bg1"/>
                </a:solidFill>
                <a:latin typeface="+mn-lt"/>
                <a:ea typeface="Clan Pro Buch" charset="0"/>
                <a:cs typeface="Clan Pro Buch" charset="0"/>
              </a:rPr>
              <a:t>Hilpertstraße 12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64295 Darmstadt</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Rahmhofstraße 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60313 Frankfurt a. M.</a:t>
            </a:r>
            <a:endParaRPr lang="it-IT" sz="1050" b="0" i="0" dirty="0">
              <a:solidFill>
                <a:schemeClr val="bg1"/>
              </a:solidFill>
              <a:latin typeface="+mn-lt"/>
              <a:ea typeface="Clan Pro Buch" charset="0"/>
              <a:cs typeface="Clan Pro Buch" charset="0"/>
            </a:endParaRP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Im </a:t>
            </a:r>
            <a:r>
              <a:rPr lang="it-IT" sz="1050" b="0" i="0" dirty="0" err="1">
                <a:solidFill>
                  <a:schemeClr val="bg1"/>
                </a:solidFill>
                <a:latin typeface="+mn-lt"/>
                <a:ea typeface="Clan Pro Buch" charset="0"/>
                <a:cs typeface="Clan Pro Buch" charset="0"/>
              </a:rPr>
              <a:t>Mediapark</a:t>
            </a:r>
            <a:r>
              <a:rPr lang="it-IT" sz="1050" b="0" i="0" dirty="0">
                <a:solidFill>
                  <a:schemeClr val="bg1"/>
                </a:solidFill>
                <a:latin typeface="+mn-lt"/>
                <a:ea typeface="Clan Pro Buch" charset="0"/>
                <a:cs typeface="Clan Pro Buch" charset="0"/>
              </a:rPr>
              <a:t> 6a</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dirty="0">
                <a:solidFill>
                  <a:schemeClr val="bg1"/>
                </a:solidFill>
                <a:latin typeface="+mn-lt"/>
                <a:ea typeface="Clan Pro Buch" charset="0"/>
                <a:cs typeface="Clan Pro Buch" charset="0"/>
              </a:rPr>
              <a:t>50670 Köln</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Balanstraße</a:t>
            </a:r>
            <a:r>
              <a:rPr lang="it-IT" sz="1050" b="0" i="0" baseline="0" dirty="0">
                <a:solidFill>
                  <a:schemeClr val="bg1"/>
                </a:solidFill>
                <a:latin typeface="+mn-lt"/>
                <a:ea typeface="Clan Pro Buch" charset="0"/>
                <a:cs typeface="Clan Pro Buch" charset="0"/>
              </a:rPr>
              <a:t> 55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baseline="0" dirty="0">
                <a:solidFill>
                  <a:schemeClr val="bg1"/>
                </a:solidFill>
                <a:latin typeface="+mn-lt"/>
                <a:ea typeface="Clan Pro Buch" charset="0"/>
                <a:cs typeface="Clan Pro Buch" charset="0"/>
              </a:rPr>
              <a:t>81541 München</a:t>
            </a:r>
          </a:p>
          <a:p>
            <a:pPr marL="0" marR="0" lvl="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spc="40" baseline="0" dirty="0">
                <a:solidFill>
                  <a:schemeClr val="bg1"/>
                </a:solidFill>
                <a:latin typeface="+mn-lt"/>
                <a:ea typeface="ClanPro-MediumItalic" charset="0"/>
                <a:cs typeface="ClanPro-MediumItalic" charset="0"/>
              </a:rPr>
              <a:t>Clocktower, 30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spc="0" baseline="0" dirty="0">
                <a:solidFill>
                  <a:schemeClr val="bg1"/>
                </a:solidFill>
                <a:latin typeface="+mn-lt"/>
                <a:ea typeface="Clan Pro Buch" charset="0"/>
                <a:cs typeface="Clan Pro Buch" charset="0"/>
              </a:rPr>
              <a:t>CV&amp;A Waterfront, Cape Town 8002, ZA</a:t>
            </a:r>
            <a:endParaRPr lang="it-IT" sz="1050" b="0" i="0" spc="0" dirty="0">
              <a:solidFill>
                <a:schemeClr val="bg1"/>
              </a:solidFill>
              <a:latin typeface="+mn-lt"/>
              <a:ea typeface="Clan Pro Buch" charset="0"/>
              <a:cs typeface="Clan Pro Buch" charset="0"/>
            </a:endParaRPr>
          </a:p>
        </p:txBody>
      </p:sp>
      <p:pic>
        <p:nvPicPr>
          <p:cNvPr id="4" name="Grafik 3">
            <a:extLst>
              <a:ext uri="{FF2B5EF4-FFF2-40B4-BE49-F238E27FC236}">
                <a16:creationId xmlns:a16="http://schemas.microsoft.com/office/drawing/2014/main" id="{5F4D1C43-219A-6E8D-B836-B71D4664D137}"/>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7063105" y="1446055"/>
            <a:ext cx="3605303" cy="2412000"/>
          </a:xfrm>
          <a:prstGeom prst="rect">
            <a:avLst/>
          </a:prstGeom>
        </p:spPr>
      </p:pic>
      <p:sp>
        <p:nvSpPr>
          <p:cNvPr id="2" name="Bildplatzhalter 17">
            <a:extLst>
              <a:ext uri="{FF2B5EF4-FFF2-40B4-BE49-F238E27FC236}">
                <a16:creationId xmlns:a16="http://schemas.microsoft.com/office/drawing/2014/main" id="{49365F6A-D06F-7622-0EBD-CEF8B289CED2}"/>
              </a:ext>
            </a:extLst>
          </p:cNvPr>
          <p:cNvSpPr>
            <a:spLocks noGrp="1" noChangeAspect="1"/>
          </p:cNvSpPr>
          <p:nvPr>
            <p:ph type="pic" sz="quarter" idx="16"/>
          </p:nvPr>
        </p:nvSpPr>
        <p:spPr>
          <a:xfrm>
            <a:off x="7889807" y="2251897"/>
            <a:ext cx="3509056" cy="2332800"/>
          </a:xfrm>
          <a:custGeom>
            <a:avLst/>
            <a:gdLst>
              <a:gd name="connsiteX0" fmla="*/ 657846 w 3556819"/>
              <a:gd name="connsiteY0" fmla="*/ 0 h 2364553"/>
              <a:gd name="connsiteX1" fmla="*/ 3161367 w 3556819"/>
              <a:gd name="connsiteY1" fmla="*/ 0 h 2364553"/>
              <a:gd name="connsiteX2" fmla="*/ 3535310 w 3556819"/>
              <a:gd name="connsiteY2" fmla="*/ 521946 h 2364553"/>
              <a:gd name="connsiteX3" fmla="*/ 2898973 w 3556819"/>
              <a:gd name="connsiteY3" fmla="*/ 2364553 h 2364553"/>
              <a:gd name="connsiteX4" fmla="*/ 395451 w 3556819"/>
              <a:gd name="connsiteY4" fmla="*/ 2364553 h 2364553"/>
              <a:gd name="connsiteX5" fmla="*/ 21508 w 3556819"/>
              <a:gd name="connsiteY5" fmla="*/ 1842607 h 236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6819" h="2364553">
                <a:moveTo>
                  <a:pt x="657846" y="0"/>
                </a:moveTo>
                <a:lnTo>
                  <a:pt x="3161367" y="0"/>
                </a:lnTo>
                <a:cubicBezTo>
                  <a:pt x="3432635" y="0"/>
                  <a:pt x="3622776" y="266660"/>
                  <a:pt x="3535310" y="521946"/>
                </a:cubicBezTo>
                <a:lnTo>
                  <a:pt x="2898973" y="2364553"/>
                </a:lnTo>
                <a:lnTo>
                  <a:pt x="395451" y="2364553"/>
                </a:lnTo>
                <a:cubicBezTo>
                  <a:pt x="124184" y="2364553"/>
                  <a:pt x="-65957" y="2097893"/>
                  <a:pt x="21508" y="1842607"/>
                </a:cubicBezTo>
                <a:close/>
              </a:path>
            </a:pathLst>
          </a:custGeom>
          <a:noFill/>
          <a:ln w="50800">
            <a:solidFill>
              <a:srgbClr val="2DFA87"/>
            </a:solidFill>
          </a:ln>
        </p:spPr>
        <p:txBody>
          <a:bodyPr wrap="square">
            <a:noAutofit/>
          </a:bodyPr>
          <a:lstStyle/>
          <a:p>
            <a:r>
              <a:rPr lang="en-US"/>
              <a:t>Click icon to add picture</a:t>
            </a:r>
            <a:endParaRPr lang="de-DE" dirty="0"/>
          </a:p>
        </p:txBody>
      </p:sp>
    </p:spTree>
    <p:extLst>
      <p:ext uri="{BB962C8B-B14F-4D97-AF65-F5344CB8AC3E}">
        <p14:creationId xmlns:p14="http://schemas.microsoft.com/office/powerpoint/2010/main" val="8660816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bschlussfolie 2">
    <p:bg>
      <p:bgPr>
        <a:solidFill>
          <a:srgbClr val="003C3C"/>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73C8DB6-6CFD-0DFB-126B-8CD639EB6525}"/>
              </a:ext>
            </a:extLst>
          </p:cNvPr>
          <p:cNvSpPr/>
          <p:nvPr userDrawn="1"/>
        </p:nvSpPr>
        <p:spPr bwMode="gray">
          <a:xfrm>
            <a:off x="0" y="5749982"/>
            <a:ext cx="12192000" cy="216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solidFill>
                <a:schemeClr val="tx2"/>
              </a:solidFill>
            </a:endParaRPr>
          </a:p>
        </p:txBody>
      </p:sp>
      <p:sp>
        <p:nvSpPr>
          <p:cNvPr id="6" name="Textplatzhalter 45">
            <a:extLst>
              <a:ext uri="{FF2B5EF4-FFF2-40B4-BE49-F238E27FC236}">
                <a16:creationId xmlns:a16="http://schemas.microsoft.com/office/drawing/2014/main" id="{EDEAF2E1-C47E-A8A0-6A3C-C8C15E908489}"/>
              </a:ext>
            </a:extLst>
          </p:cNvPr>
          <p:cNvSpPr>
            <a:spLocks noGrp="1"/>
          </p:cNvSpPr>
          <p:nvPr>
            <p:ph type="body" sz="quarter" idx="14"/>
          </p:nvPr>
        </p:nvSpPr>
        <p:spPr bwMode="invGray">
          <a:xfrm>
            <a:off x="695325" y="1124964"/>
            <a:ext cx="6300000" cy="3527999"/>
          </a:xfrm>
        </p:spPr>
        <p:txBody>
          <a:bodyPr anchor="ctr" anchorCtr="0"/>
          <a:lstStyle>
            <a:lvl1pPr>
              <a:lnSpc>
                <a:spcPct val="80000"/>
              </a:lnSpc>
              <a:spcBef>
                <a:spcPts val="0"/>
              </a:spcBef>
              <a:spcAft>
                <a:spcPts val="0"/>
              </a:spcAft>
              <a:defRPr sz="6000" cap="none" baseline="0">
                <a:solidFill>
                  <a:srgbClr val="2DFA87"/>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20" name="Grafik 19">
            <a:extLst>
              <a:ext uri="{FF2B5EF4-FFF2-40B4-BE49-F238E27FC236}">
                <a16:creationId xmlns:a16="http://schemas.microsoft.com/office/drawing/2014/main" id="{2485120A-6607-C666-7494-0AD2AB938CD0}"/>
              </a:ext>
            </a:extLst>
          </p:cNvPr>
          <p:cNvPicPr>
            <a:picLocks noChangeAspect="1"/>
          </p:cNvPicPr>
          <p:nvPr userDrawn="1"/>
        </p:nvPicPr>
        <p:blipFill>
          <a:blip r:embed="rId2"/>
          <a:stretch>
            <a:fillRect/>
          </a:stretch>
        </p:blipFill>
        <p:spPr>
          <a:xfrm>
            <a:off x="10613601" y="548680"/>
            <a:ext cx="912923" cy="210675"/>
          </a:xfrm>
          <a:prstGeom prst="rect">
            <a:avLst/>
          </a:prstGeom>
        </p:spPr>
      </p:pic>
      <p:pic>
        <p:nvPicPr>
          <p:cNvPr id="22" name="Grafik 21">
            <a:extLst>
              <a:ext uri="{FF2B5EF4-FFF2-40B4-BE49-F238E27FC236}">
                <a16:creationId xmlns:a16="http://schemas.microsoft.com/office/drawing/2014/main" id="{FC68CA13-9A37-DDBE-857F-56533BE1EE90}"/>
              </a:ext>
            </a:extLst>
          </p:cNvPr>
          <p:cNvPicPr>
            <a:picLocks noChangeAspect="1"/>
          </p:cNvPicPr>
          <p:nvPr userDrawn="1"/>
        </p:nvPicPr>
        <p:blipFill>
          <a:blip r:embed="rId3"/>
          <a:stretch>
            <a:fillRect/>
          </a:stretch>
        </p:blipFill>
        <p:spPr>
          <a:xfrm>
            <a:off x="7855892" y="2241550"/>
            <a:ext cx="3568700" cy="2374900"/>
          </a:xfrm>
          <a:prstGeom prst="rect">
            <a:avLst/>
          </a:prstGeom>
        </p:spPr>
      </p:pic>
      <p:pic>
        <p:nvPicPr>
          <p:cNvPr id="23" name="Grafik 22">
            <a:extLst>
              <a:ext uri="{FF2B5EF4-FFF2-40B4-BE49-F238E27FC236}">
                <a16:creationId xmlns:a16="http://schemas.microsoft.com/office/drawing/2014/main" id="{59076396-E385-083F-6CB5-3CC7EBA69187}"/>
              </a:ext>
            </a:extLst>
          </p:cNvPr>
          <p:cNvPicPr>
            <a:picLocks noChangeAspect="1"/>
          </p:cNvPicPr>
          <p:nvPr userDrawn="1"/>
        </p:nvPicPr>
        <p:blipFill>
          <a:blip r:embed="rId3"/>
          <a:stretch>
            <a:fillRect/>
          </a:stretch>
        </p:blipFill>
        <p:spPr>
          <a:xfrm>
            <a:off x="7063804" y="1468866"/>
            <a:ext cx="3568700" cy="2374900"/>
          </a:xfrm>
          <a:prstGeom prst="rect">
            <a:avLst/>
          </a:prstGeom>
        </p:spPr>
      </p:pic>
      <p:grpSp>
        <p:nvGrpSpPr>
          <p:cNvPr id="2" name="Gruppieren 1">
            <a:extLst>
              <a:ext uri="{FF2B5EF4-FFF2-40B4-BE49-F238E27FC236}">
                <a16:creationId xmlns:a16="http://schemas.microsoft.com/office/drawing/2014/main" id="{C5C1F292-1363-06FA-DE56-64E08701948E}"/>
              </a:ext>
            </a:extLst>
          </p:cNvPr>
          <p:cNvGrpSpPr>
            <a:grpSpLocks noChangeAspect="1"/>
          </p:cNvGrpSpPr>
          <p:nvPr userDrawn="1"/>
        </p:nvGrpSpPr>
        <p:grpSpPr>
          <a:xfrm>
            <a:off x="7773258" y="6218539"/>
            <a:ext cx="3798100" cy="386907"/>
            <a:chOff x="695325" y="5303713"/>
            <a:chExt cx="3798100" cy="386907"/>
          </a:xfrm>
        </p:grpSpPr>
        <p:grpSp>
          <p:nvGrpSpPr>
            <p:cNvPr id="7" name="Gruppieren 6">
              <a:extLst>
                <a:ext uri="{FF2B5EF4-FFF2-40B4-BE49-F238E27FC236}">
                  <a16:creationId xmlns:a16="http://schemas.microsoft.com/office/drawing/2014/main" id="{ED08D902-3A35-C409-EE56-75751A7FC698}"/>
                </a:ext>
              </a:extLst>
            </p:cNvPr>
            <p:cNvGrpSpPr>
              <a:grpSpLocks noChangeAspect="1"/>
            </p:cNvGrpSpPr>
            <p:nvPr/>
          </p:nvGrpSpPr>
          <p:grpSpPr>
            <a:xfrm>
              <a:off x="695325" y="5303713"/>
              <a:ext cx="386907" cy="386907"/>
              <a:chOff x="7920000" y="6228000"/>
              <a:chExt cx="386907" cy="386907"/>
            </a:xfrm>
          </p:grpSpPr>
          <p:sp>
            <p:nvSpPr>
              <p:cNvPr id="35" name="Freihandform: Form 12">
                <a:extLst>
                  <a:ext uri="{FF2B5EF4-FFF2-40B4-BE49-F238E27FC236}">
                    <a16:creationId xmlns:a16="http://schemas.microsoft.com/office/drawing/2014/main" id="{788380E9-E2EE-778E-AECE-7E1635EA5846}"/>
                  </a:ext>
                </a:extLst>
              </p:cNvPr>
              <p:cNvSpPr/>
              <p:nvPr userDrawn="1"/>
            </p:nvSpPr>
            <p:spPr>
              <a:xfrm>
                <a:off x="7920000"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6" name="Grafik 35">
                <a:extLst>
                  <a:ext uri="{FF2B5EF4-FFF2-40B4-BE49-F238E27FC236}">
                    <a16:creationId xmlns:a16="http://schemas.microsoft.com/office/drawing/2014/main" id="{388E1975-9CDC-0195-4863-097679D06000}"/>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4565" t="6043" r="23344" b="6314"/>
              <a:stretch/>
            </p:blipFill>
            <p:spPr>
              <a:xfrm>
                <a:off x="8038443" y="6295247"/>
                <a:ext cx="150020" cy="252412"/>
              </a:xfrm>
              <a:prstGeom prst="rect">
                <a:avLst/>
              </a:prstGeom>
            </p:spPr>
          </p:pic>
        </p:grpSp>
        <p:grpSp>
          <p:nvGrpSpPr>
            <p:cNvPr id="8" name="Gruppieren 7">
              <a:extLst>
                <a:ext uri="{FF2B5EF4-FFF2-40B4-BE49-F238E27FC236}">
                  <a16:creationId xmlns:a16="http://schemas.microsoft.com/office/drawing/2014/main" id="{11C8DA7F-F8A5-7896-9FFE-6B4424A550FD}"/>
                </a:ext>
              </a:extLst>
            </p:cNvPr>
            <p:cNvGrpSpPr>
              <a:grpSpLocks noChangeAspect="1"/>
            </p:cNvGrpSpPr>
            <p:nvPr/>
          </p:nvGrpSpPr>
          <p:grpSpPr>
            <a:xfrm>
              <a:off x="2157264" y="5303713"/>
              <a:ext cx="386907" cy="386907"/>
              <a:chOff x="9381939" y="6228000"/>
              <a:chExt cx="386907" cy="386907"/>
            </a:xfrm>
          </p:grpSpPr>
          <p:sp>
            <p:nvSpPr>
              <p:cNvPr id="33" name="Freihandform: Form 15">
                <a:extLst>
                  <a:ext uri="{FF2B5EF4-FFF2-40B4-BE49-F238E27FC236}">
                    <a16:creationId xmlns:a16="http://schemas.microsoft.com/office/drawing/2014/main" id="{488301C1-3A99-E8FB-6859-C23CB495C688}"/>
                  </a:ext>
                </a:extLst>
              </p:cNvPr>
              <p:cNvSpPr/>
              <p:nvPr userDrawn="1"/>
            </p:nvSpPr>
            <p:spPr>
              <a:xfrm>
                <a:off x="9381939"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4" name="Grafik 33">
                <a:extLst>
                  <a:ext uri="{FF2B5EF4-FFF2-40B4-BE49-F238E27FC236}">
                    <a16:creationId xmlns:a16="http://schemas.microsoft.com/office/drawing/2014/main" id="{E8BBA339-A96B-E4D7-C71F-3214F34F8D5E}"/>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0209" y="6304363"/>
                <a:ext cx="210366" cy="210366"/>
              </a:xfrm>
              <a:prstGeom prst="rect">
                <a:avLst/>
              </a:prstGeom>
            </p:spPr>
          </p:pic>
        </p:grpSp>
        <p:grpSp>
          <p:nvGrpSpPr>
            <p:cNvPr id="9" name="Gruppieren 8">
              <a:extLst>
                <a:ext uri="{FF2B5EF4-FFF2-40B4-BE49-F238E27FC236}">
                  <a16:creationId xmlns:a16="http://schemas.microsoft.com/office/drawing/2014/main" id="{9882486D-7E61-F4DE-FEDC-98B2BC0E2BBC}"/>
                </a:ext>
              </a:extLst>
            </p:cNvPr>
            <p:cNvGrpSpPr>
              <a:grpSpLocks noChangeAspect="1"/>
            </p:cNvGrpSpPr>
            <p:nvPr/>
          </p:nvGrpSpPr>
          <p:grpSpPr>
            <a:xfrm>
              <a:off x="1182638" y="5303713"/>
              <a:ext cx="386907" cy="386907"/>
              <a:chOff x="8407313" y="6228000"/>
              <a:chExt cx="386907" cy="386907"/>
            </a:xfrm>
          </p:grpSpPr>
          <p:sp>
            <p:nvSpPr>
              <p:cNvPr id="31" name="Freihandform: Form 13">
                <a:extLst>
                  <a:ext uri="{FF2B5EF4-FFF2-40B4-BE49-F238E27FC236}">
                    <a16:creationId xmlns:a16="http://schemas.microsoft.com/office/drawing/2014/main" id="{7898B09A-4EA2-134A-229F-A5AC2299E328}"/>
                  </a:ext>
                </a:extLst>
              </p:cNvPr>
              <p:cNvSpPr/>
              <p:nvPr userDrawn="1"/>
            </p:nvSpPr>
            <p:spPr>
              <a:xfrm>
                <a:off x="840731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2" name="Grafik 31">
                <a:extLst>
                  <a:ext uri="{FF2B5EF4-FFF2-40B4-BE49-F238E27FC236}">
                    <a16:creationId xmlns:a16="http://schemas.microsoft.com/office/drawing/2014/main" id="{60286A19-2507-B565-BA65-7B133C47EE42}"/>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93072" y="6305793"/>
                <a:ext cx="231321" cy="231321"/>
              </a:xfrm>
              <a:prstGeom prst="rect">
                <a:avLst/>
              </a:prstGeom>
            </p:spPr>
          </p:pic>
        </p:grpSp>
        <p:grpSp>
          <p:nvGrpSpPr>
            <p:cNvPr id="10" name="Gruppieren 9">
              <a:extLst>
                <a:ext uri="{FF2B5EF4-FFF2-40B4-BE49-F238E27FC236}">
                  <a16:creationId xmlns:a16="http://schemas.microsoft.com/office/drawing/2014/main" id="{FE0B4B51-AE48-57E1-1EC3-93D23FC484FD}"/>
                </a:ext>
              </a:extLst>
            </p:cNvPr>
            <p:cNvGrpSpPr>
              <a:grpSpLocks noChangeAspect="1"/>
            </p:cNvGrpSpPr>
            <p:nvPr/>
          </p:nvGrpSpPr>
          <p:grpSpPr>
            <a:xfrm>
              <a:off x="3619203" y="5303713"/>
              <a:ext cx="386907" cy="386907"/>
              <a:chOff x="10843878" y="6228000"/>
              <a:chExt cx="386907" cy="386907"/>
            </a:xfrm>
          </p:grpSpPr>
          <p:sp>
            <p:nvSpPr>
              <p:cNvPr id="29" name="Freihandform: Form 91">
                <a:extLst>
                  <a:ext uri="{FF2B5EF4-FFF2-40B4-BE49-F238E27FC236}">
                    <a16:creationId xmlns:a16="http://schemas.microsoft.com/office/drawing/2014/main" id="{8C465756-FC23-3738-40BA-59432FE4E2B6}"/>
                  </a:ext>
                </a:extLst>
              </p:cNvPr>
              <p:cNvSpPr/>
              <p:nvPr userDrawn="1"/>
            </p:nvSpPr>
            <p:spPr>
              <a:xfrm>
                <a:off x="10843878"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30" name="Grafik 29">
                <a:extLst>
                  <a:ext uri="{FF2B5EF4-FFF2-40B4-BE49-F238E27FC236}">
                    <a16:creationId xmlns:a16="http://schemas.microsoft.com/office/drawing/2014/main" id="{091AD755-C902-E08F-D510-E8F7AD70BB6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929331" y="6320523"/>
                <a:ext cx="216000" cy="216000"/>
              </a:xfrm>
              <a:prstGeom prst="rect">
                <a:avLst/>
              </a:prstGeom>
            </p:spPr>
          </p:pic>
        </p:grpSp>
        <p:grpSp>
          <p:nvGrpSpPr>
            <p:cNvPr id="11" name="Gruppieren 10">
              <a:extLst>
                <a:ext uri="{FF2B5EF4-FFF2-40B4-BE49-F238E27FC236}">
                  <a16:creationId xmlns:a16="http://schemas.microsoft.com/office/drawing/2014/main" id="{2FF5C5B5-C84D-C687-62D7-695D8444948B}"/>
                </a:ext>
              </a:extLst>
            </p:cNvPr>
            <p:cNvGrpSpPr>
              <a:grpSpLocks noChangeAspect="1"/>
            </p:cNvGrpSpPr>
            <p:nvPr/>
          </p:nvGrpSpPr>
          <p:grpSpPr>
            <a:xfrm>
              <a:off x="2644577" y="5303713"/>
              <a:ext cx="386907" cy="386907"/>
              <a:chOff x="9869252" y="6228000"/>
              <a:chExt cx="386907" cy="386907"/>
            </a:xfrm>
          </p:grpSpPr>
          <p:sp>
            <p:nvSpPr>
              <p:cNvPr id="27" name="Freihandform: Form 16">
                <a:extLst>
                  <a:ext uri="{FF2B5EF4-FFF2-40B4-BE49-F238E27FC236}">
                    <a16:creationId xmlns:a16="http://schemas.microsoft.com/office/drawing/2014/main" id="{275013E3-85C4-A2A6-D4E6-EBD92D31D068}"/>
                  </a:ext>
                </a:extLst>
              </p:cNvPr>
              <p:cNvSpPr/>
              <p:nvPr userDrawn="1"/>
            </p:nvSpPr>
            <p:spPr>
              <a:xfrm>
                <a:off x="9869252"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8" name="Grafik 27">
                <a:extLst>
                  <a:ext uri="{FF2B5EF4-FFF2-40B4-BE49-F238E27FC236}">
                    <a16:creationId xmlns:a16="http://schemas.microsoft.com/office/drawing/2014/main" id="{370B2606-4CE7-45B4-9C04-7832232CEFD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9938347" y="6297095"/>
                <a:ext cx="248716" cy="248716"/>
              </a:xfrm>
              <a:prstGeom prst="rect">
                <a:avLst/>
              </a:prstGeom>
            </p:spPr>
          </p:pic>
        </p:grpSp>
        <p:grpSp>
          <p:nvGrpSpPr>
            <p:cNvPr id="12" name="Gruppieren 11">
              <a:extLst>
                <a:ext uri="{FF2B5EF4-FFF2-40B4-BE49-F238E27FC236}">
                  <a16:creationId xmlns:a16="http://schemas.microsoft.com/office/drawing/2014/main" id="{FE070BC8-8E91-4DAE-F70F-825C745E11E4}"/>
                </a:ext>
              </a:extLst>
            </p:cNvPr>
            <p:cNvGrpSpPr>
              <a:grpSpLocks noChangeAspect="1"/>
            </p:cNvGrpSpPr>
            <p:nvPr/>
          </p:nvGrpSpPr>
          <p:grpSpPr>
            <a:xfrm>
              <a:off x="4106518" y="5303713"/>
              <a:ext cx="386907" cy="386907"/>
              <a:chOff x="11331193" y="6228000"/>
              <a:chExt cx="386907" cy="386907"/>
            </a:xfrm>
          </p:grpSpPr>
          <p:sp>
            <p:nvSpPr>
              <p:cNvPr id="25" name="Freihandform: Form 92">
                <a:extLst>
                  <a:ext uri="{FF2B5EF4-FFF2-40B4-BE49-F238E27FC236}">
                    <a16:creationId xmlns:a16="http://schemas.microsoft.com/office/drawing/2014/main" id="{A757DB1E-9E99-D1EF-2EBF-6F2695B439A2}"/>
                  </a:ext>
                </a:extLst>
              </p:cNvPr>
              <p:cNvSpPr/>
              <p:nvPr userDrawn="1"/>
            </p:nvSpPr>
            <p:spPr>
              <a:xfrm>
                <a:off x="11331193" y="6228000"/>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6" name="Grafik 25">
                <a:extLst>
                  <a:ext uri="{FF2B5EF4-FFF2-40B4-BE49-F238E27FC236}">
                    <a16:creationId xmlns:a16="http://schemas.microsoft.com/office/drawing/2014/main" id="{35B57161-D4AD-0347-0A11-721226B2A48A}"/>
                  </a:ext>
                </a:extLst>
              </p:cNvPr>
              <p:cNvPicPr>
                <a:picLocks noChangeAspect="1"/>
              </p:cNvPicPr>
              <p:nvPr userDrawn="1"/>
            </p:nvPicPr>
            <p:blipFill>
              <a:blip r:embed="rId14">
                <a:duotone>
                  <a:schemeClr val="accent1">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40000" contrast="-20000"/>
                        </a14:imgEffect>
                      </a14:imgLayer>
                    </a14:imgProps>
                  </a:ext>
                </a:extLst>
              </a:blip>
              <a:stretch>
                <a:fillRect/>
              </a:stretch>
            </p:blipFill>
            <p:spPr>
              <a:xfrm>
                <a:off x="11438013" y="6292452"/>
                <a:ext cx="243039" cy="241392"/>
              </a:xfrm>
              <a:prstGeom prst="rect">
                <a:avLst/>
              </a:prstGeom>
            </p:spPr>
          </p:pic>
        </p:grpSp>
        <p:grpSp>
          <p:nvGrpSpPr>
            <p:cNvPr id="13" name="Gruppieren 12">
              <a:extLst>
                <a:ext uri="{FF2B5EF4-FFF2-40B4-BE49-F238E27FC236}">
                  <a16:creationId xmlns:a16="http://schemas.microsoft.com/office/drawing/2014/main" id="{1358B388-AD50-EC15-807E-EBABDF5A0688}"/>
                </a:ext>
              </a:extLst>
            </p:cNvPr>
            <p:cNvGrpSpPr>
              <a:grpSpLocks noChangeAspect="1"/>
            </p:cNvGrpSpPr>
            <p:nvPr/>
          </p:nvGrpSpPr>
          <p:grpSpPr>
            <a:xfrm>
              <a:off x="1669951" y="5303713"/>
              <a:ext cx="386907" cy="386907"/>
              <a:chOff x="1669951" y="5303713"/>
              <a:chExt cx="386907" cy="386907"/>
            </a:xfrm>
          </p:grpSpPr>
          <p:sp>
            <p:nvSpPr>
              <p:cNvPr id="21" name="Freihandform: Form 14">
                <a:extLst>
                  <a:ext uri="{FF2B5EF4-FFF2-40B4-BE49-F238E27FC236}">
                    <a16:creationId xmlns:a16="http://schemas.microsoft.com/office/drawing/2014/main" id="{014E5488-2E58-E951-AC2B-1A97831FB7A5}"/>
                  </a:ext>
                </a:extLst>
              </p:cNvPr>
              <p:cNvSpPr/>
              <p:nvPr userDrawn="1"/>
            </p:nvSpPr>
            <p:spPr>
              <a:xfrm>
                <a:off x="1669951" y="5303713"/>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pic>
            <p:nvPicPr>
              <p:cNvPr id="24" name="Grafik 23">
                <a:extLst>
                  <a:ext uri="{FF2B5EF4-FFF2-40B4-BE49-F238E27FC236}">
                    <a16:creationId xmlns:a16="http://schemas.microsoft.com/office/drawing/2014/main" id="{21B91863-BEC8-44C9-4C81-C0C0A44EFC4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748204" y="5381966"/>
                <a:ext cx="230400" cy="230400"/>
              </a:xfrm>
              <a:prstGeom prst="rect">
                <a:avLst/>
              </a:prstGeom>
            </p:spPr>
          </p:pic>
        </p:grpSp>
        <p:grpSp>
          <p:nvGrpSpPr>
            <p:cNvPr id="14" name="Gruppieren 13">
              <a:extLst>
                <a:ext uri="{FF2B5EF4-FFF2-40B4-BE49-F238E27FC236}">
                  <a16:creationId xmlns:a16="http://schemas.microsoft.com/office/drawing/2014/main" id="{945D0F1C-8997-6F85-D16D-7ED724A2B54A}"/>
                </a:ext>
              </a:extLst>
            </p:cNvPr>
            <p:cNvGrpSpPr>
              <a:grpSpLocks noChangeAspect="1"/>
            </p:cNvGrpSpPr>
            <p:nvPr/>
          </p:nvGrpSpPr>
          <p:grpSpPr>
            <a:xfrm>
              <a:off x="3131890" y="5303713"/>
              <a:ext cx="386907" cy="386907"/>
              <a:chOff x="3193916" y="5594898"/>
              <a:chExt cx="386907" cy="386907"/>
            </a:xfrm>
          </p:grpSpPr>
          <p:sp>
            <p:nvSpPr>
              <p:cNvPr id="15" name="Freihandform: Form 12">
                <a:extLst>
                  <a:ext uri="{FF2B5EF4-FFF2-40B4-BE49-F238E27FC236}">
                    <a16:creationId xmlns:a16="http://schemas.microsoft.com/office/drawing/2014/main" id="{06CD3154-1FFC-C093-DC5F-9C4F9D1B2218}"/>
                  </a:ext>
                </a:extLst>
              </p:cNvPr>
              <p:cNvSpPr/>
              <p:nvPr/>
            </p:nvSpPr>
            <p:spPr>
              <a:xfrm>
                <a:off x="3193916" y="5594898"/>
                <a:ext cx="386907" cy="386907"/>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solidFill>
                <a:srgbClr val="1B1C2B"/>
              </a:solidFill>
              <a:ln w="7592" cap="flat">
                <a:noFill/>
                <a:prstDash val="solid"/>
                <a:miter/>
              </a:ln>
            </p:spPr>
            <p:txBody>
              <a:bodyPr rtlCol="0" anchor="ctr"/>
              <a:lstStyle/>
              <a:p>
                <a:endParaRPr lang="de-DE" dirty="0"/>
              </a:p>
            </p:txBody>
          </p:sp>
          <p:grpSp>
            <p:nvGrpSpPr>
              <p:cNvPr id="16" name="Gruppieren 15">
                <a:extLst>
                  <a:ext uri="{FF2B5EF4-FFF2-40B4-BE49-F238E27FC236}">
                    <a16:creationId xmlns:a16="http://schemas.microsoft.com/office/drawing/2014/main" id="{CEAC227D-CA30-01BF-48EC-21CF8B1C9EB6}"/>
                  </a:ext>
                </a:extLst>
              </p:cNvPr>
              <p:cNvGrpSpPr>
                <a:grpSpLocks noChangeAspect="1"/>
              </p:cNvGrpSpPr>
              <p:nvPr/>
            </p:nvGrpSpPr>
            <p:grpSpPr>
              <a:xfrm>
                <a:off x="3247714" y="5626351"/>
                <a:ext cx="279310" cy="324000"/>
                <a:chOff x="7212974" y="4586237"/>
                <a:chExt cx="1396551" cy="1620000"/>
              </a:xfrm>
            </p:grpSpPr>
            <p:sp>
              <p:nvSpPr>
                <p:cNvPr id="17" name="Freihandform: Form 16">
                  <a:extLst>
                    <a:ext uri="{FF2B5EF4-FFF2-40B4-BE49-F238E27FC236}">
                      <a16:creationId xmlns:a16="http://schemas.microsoft.com/office/drawing/2014/main" id="{D8158F5B-9FDB-93D8-2186-C8841DFC7B14}"/>
                    </a:ext>
                  </a:extLst>
                </p:cNvPr>
                <p:cNvSpPr>
                  <a:spLocks noChangeAspect="1"/>
                </p:cNvSpPr>
                <p:nvPr/>
              </p:nvSpPr>
              <p:spPr>
                <a:xfrm rot="5400000">
                  <a:off x="7101250" y="4697961"/>
                  <a:ext cx="1620000" cy="1396551"/>
                </a:xfrm>
                <a:custGeom>
                  <a:avLst/>
                  <a:gdLst>
                    <a:gd name="connsiteX0" fmla="*/ 202021 w 1574043"/>
                    <a:gd name="connsiteY0" fmla="*/ 678467 h 1356933"/>
                    <a:gd name="connsiteX1" fmla="*/ 491949 w 1574043"/>
                    <a:gd name="connsiteY1" fmla="*/ 1182777 h 1356933"/>
                    <a:gd name="connsiteX2" fmla="*/ 1082093 w 1574043"/>
                    <a:gd name="connsiteY2" fmla="*/ 1182777 h 1356933"/>
                    <a:gd name="connsiteX3" fmla="*/ 1372021 w 1574043"/>
                    <a:gd name="connsiteY3" fmla="*/ 678467 h 1356933"/>
                    <a:gd name="connsiteX4" fmla="*/ 1082093 w 1574043"/>
                    <a:gd name="connsiteY4" fmla="*/ 174157 h 1356933"/>
                    <a:gd name="connsiteX5" fmla="*/ 491949 w 1574043"/>
                    <a:gd name="connsiteY5" fmla="*/ 174157 h 1356933"/>
                    <a:gd name="connsiteX6" fmla="*/ 0 w 1574043"/>
                    <a:gd name="connsiteY6" fmla="*/ 678467 h 1356933"/>
                    <a:gd name="connsiteX7" fmla="*/ 390050 w 1574043"/>
                    <a:gd name="connsiteY7" fmla="*/ 0 h 1356933"/>
                    <a:gd name="connsiteX8" fmla="*/ 1183993 w 1574043"/>
                    <a:gd name="connsiteY8" fmla="*/ 0 h 1356933"/>
                    <a:gd name="connsiteX9" fmla="*/ 1574043 w 1574043"/>
                    <a:gd name="connsiteY9" fmla="*/ 678467 h 1356933"/>
                    <a:gd name="connsiteX10" fmla="*/ 1183993 w 1574043"/>
                    <a:gd name="connsiteY10" fmla="*/ 1356933 h 1356933"/>
                    <a:gd name="connsiteX11" fmla="*/ 390050 w 1574043"/>
                    <a:gd name="connsiteY11" fmla="*/ 1356933 h 13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4043" h="1356933">
                      <a:moveTo>
                        <a:pt x="202021" y="678467"/>
                      </a:moveTo>
                      <a:lnTo>
                        <a:pt x="491949" y="1182777"/>
                      </a:lnTo>
                      <a:lnTo>
                        <a:pt x="1082093" y="1182777"/>
                      </a:lnTo>
                      <a:lnTo>
                        <a:pt x="1372021" y="678467"/>
                      </a:lnTo>
                      <a:lnTo>
                        <a:pt x="1082093" y="174157"/>
                      </a:lnTo>
                      <a:lnTo>
                        <a:pt x="491949" y="174157"/>
                      </a:lnTo>
                      <a:close/>
                      <a:moveTo>
                        <a:pt x="0" y="678467"/>
                      </a:moveTo>
                      <a:lnTo>
                        <a:pt x="390050" y="0"/>
                      </a:lnTo>
                      <a:lnTo>
                        <a:pt x="1183993" y="0"/>
                      </a:lnTo>
                      <a:lnTo>
                        <a:pt x="1574043" y="678467"/>
                      </a:lnTo>
                      <a:lnTo>
                        <a:pt x="1183993" y="1356933"/>
                      </a:lnTo>
                      <a:lnTo>
                        <a:pt x="390050" y="13569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sp>
              <p:nvSpPr>
                <p:cNvPr id="18" name="Ellipse 17">
                  <a:extLst>
                    <a:ext uri="{FF2B5EF4-FFF2-40B4-BE49-F238E27FC236}">
                      <a16:creationId xmlns:a16="http://schemas.microsoft.com/office/drawing/2014/main" id="{46B48C89-238C-6AD0-7382-E864715A2B7E}"/>
                    </a:ext>
                  </a:extLst>
                </p:cNvPr>
                <p:cNvSpPr>
                  <a:spLocks noChangeAspect="1"/>
                </p:cNvSpPr>
                <p:nvPr/>
              </p:nvSpPr>
              <p:spPr>
                <a:xfrm>
                  <a:off x="7455156" y="5436313"/>
                  <a:ext cx="198000" cy="19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000" dirty="0">
                    <a:solidFill>
                      <a:schemeClr val="tx1"/>
                    </a:solidFill>
                  </a:endParaRPr>
                </a:p>
              </p:txBody>
            </p:sp>
            <p:sp>
              <p:nvSpPr>
                <p:cNvPr id="19" name="Freihandform: Form 18">
                  <a:extLst>
                    <a:ext uri="{FF2B5EF4-FFF2-40B4-BE49-F238E27FC236}">
                      <a16:creationId xmlns:a16="http://schemas.microsoft.com/office/drawing/2014/main" id="{9CEDF6F0-1DE0-16F6-4295-67E7E5B40D54}"/>
                    </a:ext>
                  </a:extLst>
                </p:cNvPr>
                <p:cNvSpPr>
                  <a:spLocks noChangeAspect="1"/>
                </p:cNvSpPr>
                <p:nvPr/>
              </p:nvSpPr>
              <p:spPr>
                <a:xfrm>
                  <a:off x="7632878" y="5066406"/>
                  <a:ext cx="586666" cy="590876"/>
                </a:xfrm>
                <a:custGeom>
                  <a:avLst/>
                  <a:gdLst>
                    <a:gd name="connsiteX0" fmla="*/ 293333 w 586666"/>
                    <a:gd name="connsiteY0" fmla="*/ 293499 h 590876"/>
                    <a:gd name="connsiteX1" fmla="*/ 225354 w 586666"/>
                    <a:gd name="connsiteY1" fmla="*/ 430433 h 590876"/>
                    <a:gd name="connsiteX2" fmla="*/ 361312 w 586666"/>
                    <a:gd name="connsiteY2" fmla="*/ 430433 h 590876"/>
                    <a:gd name="connsiteX3" fmla="*/ 293333 w 586666"/>
                    <a:gd name="connsiteY3" fmla="*/ 0 h 590876"/>
                    <a:gd name="connsiteX4" fmla="*/ 586666 w 586666"/>
                    <a:gd name="connsiteY4" fmla="*/ 590876 h 590876"/>
                    <a:gd name="connsiteX5" fmla="*/ 0 w 586666"/>
                    <a:gd name="connsiteY5" fmla="*/ 590876 h 59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666" h="590876">
                      <a:moveTo>
                        <a:pt x="293333" y="293499"/>
                      </a:moveTo>
                      <a:lnTo>
                        <a:pt x="225354" y="430433"/>
                      </a:lnTo>
                      <a:lnTo>
                        <a:pt x="361312" y="430433"/>
                      </a:lnTo>
                      <a:close/>
                      <a:moveTo>
                        <a:pt x="293333" y="0"/>
                      </a:moveTo>
                      <a:lnTo>
                        <a:pt x="586666" y="590876"/>
                      </a:lnTo>
                      <a:lnTo>
                        <a:pt x="0" y="590876"/>
                      </a:lnTo>
                      <a:close/>
                    </a:path>
                  </a:pathLst>
                </a:custGeom>
                <a:solidFill>
                  <a:schemeClr val="tx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l"/>
                  <a:endParaRPr lang="en-US" sz="2000" dirty="0">
                    <a:solidFill>
                      <a:schemeClr val="tx1"/>
                    </a:solidFill>
                  </a:endParaRPr>
                </a:p>
              </p:txBody>
            </p:sp>
          </p:grpSp>
        </p:grpSp>
      </p:grpSp>
      <p:sp>
        <p:nvSpPr>
          <p:cNvPr id="37" name="Textfeld 36">
            <a:extLst>
              <a:ext uri="{FF2B5EF4-FFF2-40B4-BE49-F238E27FC236}">
                <a16:creationId xmlns:a16="http://schemas.microsoft.com/office/drawing/2014/main" id="{D63C4044-DC9E-5EA7-0AC5-4F1FDF42DD88}"/>
              </a:ext>
            </a:extLst>
          </p:cNvPr>
          <p:cNvSpPr txBox="1"/>
          <p:nvPr userDrawn="1"/>
        </p:nvSpPr>
        <p:spPr>
          <a:xfrm>
            <a:off x="695324" y="6051105"/>
            <a:ext cx="2520000" cy="718402"/>
          </a:xfrm>
          <a:prstGeom prst="rect">
            <a:avLst/>
          </a:prstGeom>
          <a:noFill/>
        </p:spPr>
        <p:txBody>
          <a:bodyPr wrap="square" lIns="0" tIns="0" rIns="0" bIns="0" rtlCol="0" anchor="b" anchorCtr="0">
            <a:spAutoFit/>
          </a:bodyPr>
          <a:lstStyle/>
          <a:p>
            <a:pPr>
              <a:lnSpc>
                <a:spcPts val="1100"/>
              </a:lnSpc>
              <a:spcAft>
                <a:spcPts val="1100"/>
              </a:spcAft>
            </a:pPr>
            <a:r>
              <a:rPr lang="de-DE" sz="1250" b="0" i="0" dirty="0">
                <a:solidFill>
                  <a:srgbClr val="2DFA87"/>
                </a:solidFill>
                <a:latin typeface="+mn-lt"/>
                <a:ea typeface="ClanPro-MediumItalic" charset="0"/>
                <a:cs typeface="ClanPro-MediumItalic" charset="0"/>
              </a:rPr>
              <a:t>Accso – Accelerated Solutions GmbH</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49 6151 13029-0</a:t>
            </a:r>
          </a:p>
          <a:p>
            <a:pPr marL="0" marR="0" indent="0" algn="l" defTabSz="1219170" rtl="0" eaLnBrk="1" fontAlgn="base" latinLnBrk="0" hangingPunct="1">
              <a:lnSpc>
                <a:spcPts val="1100"/>
              </a:lnSpc>
              <a:spcBef>
                <a:spcPct val="0"/>
              </a:spcBef>
              <a:spcAft>
                <a:spcPct val="0"/>
              </a:spcAft>
              <a:buClrTx/>
              <a:buSzTx/>
              <a:buFontTx/>
              <a:buNone/>
              <a:tabLst>
                <a:tab pos="268288" algn="r"/>
                <a:tab pos="360363" algn="l"/>
              </a:tabLst>
              <a:defRPr/>
            </a:pPr>
            <a:r>
              <a:rPr lang="de-DE" sz="1050" b="0" i="0" dirty="0">
                <a:solidFill>
                  <a:schemeClr val="bg1"/>
                </a:solidFill>
                <a:latin typeface="+mn-lt"/>
                <a:ea typeface="Clan Pro Buch" charset="0"/>
                <a:cs typeface="Clan Pro Buch" charset="0"/>
              </a:rPr>
              <a:t>E</a:t>
            </a:r>
            <a:r>
              <a:rPr lang="de-DE" sz="1050" b="0" i="0" spc="-93"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info@accso.de</a:t>
            </a:r>
          </a:p>
          <a:p>
            <a:pPr>
              <a:lnSpc>
                <a:spcPts val="1100"/>
              </a:lnSpc>
              <a:tabLst>
                <a:tab pos="268288" algn="r"/>
                <a:tab pos="360363" algn="l"/>
              </a:tabLst>
            </a:pP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www.accso.de</a:t>
            </a:r>
          </a:p>
        </p:txBody>
      </p:sp>
      <p:sp>
        <p:nvSpPr>
          <p:cNvPr id="38" name="Textfeld 37">
            <a:extLst>
              <a:ext uri="{FF2B5EF4-FFF2-40B4-BE49-F238E27FC236}">
                <a16:creationId xmlns:a16="http://schemas.microsoft.com/office/drawing/2014/main" id="{1A26F0C9-DCEB-F6EA-F48A-2D339040F363}"/>
              </a:ext>
            </a:extLst>
          </p:cNvPr>
          <p:cNvSpPr txBox="1"/>
          <p:nvPr userDrawn="1"/>
        </p:nvSpPr>
        <p:spPr>
          <a:xfrm>
            <a:off x="3469369" y="6059120"/>
            <a:ext cx="3420000" cy="710387"/>
          </a:xfrm>
          <a:prstGeom prst="rect">
            <a:avLst/>
          </a:prstGeom>
          <a:noFill/>
        </p:spPr>
        <p:txBody>
          <a:bodyPr wrap="square" lIns="0" tIns="0" rIns="0" bIns="0" rtlCol="0" anchor="b" anchorCtr="0">
            <a:spAutoFit/>
          </a:bodyPr>
          <a:lstStyle/>
          <a:p>
            <a:pPr marL="0" indent="0">
              <a:lnSpc>
                <a:spcPts val="1100"/>
              </a:lnSpc>
              <a:tabLst>
                <a:tab pos="1076325" algn="r"/>
                <a:tab pos="1162050" algn="l"/>
              </a:tabLst>
            </a:pPr>
            <a:r>
              <a:rPr lang="de-DE" sz="1050" b="0" i="0" dirty="0">
                <a:solidFill>
                  <a:schemeClr val="bg1"/>
                </a:solidFill>
                <a:latin typeface="+mn-lt"/>
                <a:ea typeface="Clan Pro Buch" charset="0"/>
                <a:cs typeface="Clan Pro Buch" charset="0"/>
              </a:rPr>
              <a:t>Hilpertstraße 12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dirty="0">
                <a:solidFill>
                  <a:schemeClr val="bg1"/>
                </a:solidFill>
                <a:latin typeface="+mn-lt"/>
                <a:ea typeface="Clan Pro Buch" charset="0"/>
                <a:cs typeface="Clan Pro Buch" charset="0"/>
              </a:rPr>
              <a:t>64295 Darmstadt</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Rahmhofstraße 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60313 Frankfurt a. M.</a:t>
            </a:r>
            <a:endParaRPr lang="it-IT" sz="1050" b="0" i="0" dirty="0">
              <a:solidFill>
                <a:schemeClr val="bg1"/>
              </a:solidFill>
              <a:latin typeface="+mn-lt"/>
              <a:ea typeface="Clan Pro Buch" charset="0"/>
              <a:cs typeface="Clan Pro Buch" charset="0"/>
            </a:endParaRP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Im </a:t>
            </a:r>
            <a:r>
              <a:rPr lang="it-IT" sz="1050" b="0" i="0" dirty="0" err="1">
                <a:solidFill>
                  <a:schemeClr val="bg1"/>
                </a:solidFill>
                <a:latin typeface="+mn-lt"/>
                <a:ea typeface="Clan Pro Buch" charset="0"/>
                <a:cs typeface="Clan Pro Buch" charset="0"/>
              </a:rPr>
              <a:t>Mediapark</a:t>
            </a:r>
            <a:r>
              <a:rPr lang="it-IT" sz="1050" b="0" i="0" dirty="0">
                <a:solidFill>
                  <a:schemeClr val="bg1"/>
                </a:solidFill>
                <a:latin typeface="+mn-lt"/>
                <a:ea typeface="Clan Pro Buch" charset="0"/>
                <a:cs typeface="Clan Pro Buch" charset="0"/>
              </a:rPr>
              <a:t> 6a</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dirty="0">
                <a:solidFill>
                  <a:schemeClr val="bg1"/>
                </a:solidFill>
                <a:latin typeface="+mn-lt"/>
                <a:ea typeface="Clan Pro Buch" charset="0"/>
                <a:cs typeface="Clan Pro Buch" charset="0"/>
              </a:rPr>
              <a:t>50670 Köln</a:t>
            </a:r>
          </a:p>
          <a:p>
            <a:pPr marL="0" marR="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dirty="0">
                <a:solidFill>
                  <a:schemeClr val="bg1"/>
                </a:solidFill>
                <a:latin typeface="+mn-lt"/>
                <a:ea typeface="Clan Pro Buch" charset="0"/>
                <a:cs typeface="Clan Pro Buch" charset="0"/>
              </a:rPr>
              <a:t>Balanstraße</a:t>
            </a:r>
            <a:r>
              <a:rPr lang="it-IT" sz="1050" b="0" i="0" baseline="0" dirty="0">
                <a:solidFill>
                  <a:schemeClr val="bg1"/>
                </a:solidFill>
                <a:latin typeface="+mn-lt"/>
                <a:ea typeface="Clan Pro Buch" charset="0"/>
                <a:cs typeface="Clan Pro Buch" charset="0"/>
              </a:rPr>
              <a:t> 55 </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baseline="0" dirty="0">
                <a:solidFill>
                  <a:schemeClr val="bg1"/>
                </a:solidFill>
                <a:latin typeface="+mn-lt"/>
                <a:ea typeface="Clan Pro Buch" charset="0"/>
                <a:cs typeface="Clan Pro Buch" charset="0"/>
              </a:rPr>
              <a:t>81541 München</a:t>
            </a:r>
          </a:p>
          <a:p>
            <a:pPr marL="0" marR="0" lvl="0" indent="0" algn="l" defTabSz="1219170" rtl="0" eaLnBrk="1" fontAlgn="base" latinLnBrk="0" hangingPunct="1">
              <a:lnSpc>
                <a:spcPts val="1100"/>
              </a:lnSpc>
              <a:spcBef>
                <a:spcPct val="0"/>
              </a:spcBef>
              <a:spcAft>
                <a:spcPct val="0"/>
              </a:spcAft>
              <a:buClrTx/>
              <a:buSzTx/>
              <a:buFontTx/>
              <a:buNone/>
              <a:tabLst>
                <a:tab pos="1076325" algn="r"/>
                <a:tab pos="1162050" algn="l"/>
              </a:tabLst>
              <a:defRPr/>
            </a:pPr>
            <a:r>
              <a:rPr lang="it-IT" sz="1050" b="0" i="0" spc="40" baseline="0" dirty="0">
                <a:solidFill>
                  <a:schemeClr val="bg1"/>
                </a:solidFill>
                <a:latin typeface="+mn-lt"/>
                <a:ea typeface="ClanPro-MediumItalic" charset="0"/>
                <a:cs typeface="ClanPro-MediumItalic" charset="0"/>
              </a:rPr>
              <a:t>Clocktower, 302</a:t>
            </a:r>
            <a:r>
              <a:rPr lang="de-DE" sz="1050" b="0" i="0" dirty="0">
                <a:solidFill>
                  <a:schemeClr val="bg1"/>
                </a:solidFill>
                <a:latin typeface="+mn-lt"/>
                <a:ea typeface="Clan Pro Buch" charset="0"/>
                <a:cs typeface="Clan Pro Buch" charset="0"/>
              </a:rPr>
              <a:t>	</a:t>
            </a:r>
            <a:r>
              <a:rPr lang="de-DE" sz="1050" b="0" i="0" baseline="0" dirty="0">
                <a:solidFill>
                  <a:schemeClr val="bg1"/>
                </a:solidFill>
                <a:latin typeface="+mn-lt"/>
                <a:ea typeface="ClanPro-MediumItalic" charset="0"/>
                <a:cs typeface="ClanPro-MediumItalic" charset="0"/>
              </a:rPr>
              <a:t>|</a:t>
            </a:r>
            <a:r>
              <a:rPr lang="de-DE" sz="1050" b="0" i="0" baseline="0" dirty="0">
                <a:solidFill>
                  <a:schemeClr val="bg1"/>
                </a:solidFill>
                <a:latin typeface="+mn-lt"/>
                <a:ea typeface="Clan Pro Buch" charset="0"/>
                <a:cs typeface="Clan Pro Buch" charset="0"/>
              </a:rPr>
              <a:t>	</a:t>
            </a:r>
            <a:r>
              <a:rPr lang="it-IT" sz="1050" b="0" i="0" spc="0" baseline="0" dirty="0">
                <a:solidFill>
                  <a:schemeClr val="bg1"/>
                </a:solidFill>
                <a:latin typeface="+mn-lt"/>
                <a:ea typeface="Clan Pro Buch" charset="0"/>
                <a:cs typeface="Clan Pro Buch" charset="0"/>
              </a:rPr>
              <a:t>CV&amp;A Waterfront, Cape Town 8002, ZA</a:t>
            </a:r>
            <a:endParaRPr lang="it-IT" sz="1050" b="0" i="0" spc="0" dirty="0">
              <a:solidFill>
                <a:schemeClr val="bg1"/>
              </a:solidFill>
              <a:latin typeface="+mn-lt"/>
              <a:ea typeface="Clan Pro Buch" charset="0"/>
              <a:cs typeface="Clan Pro Buch" charset="0"/>
            </a:endParaRPr>
          </a:p>
        </p:txBody>
      </p:sp>
    </p:spTree>
    <p:extLst>
      <p:ext uri="{BB962C8B-B14F-4D97-AF65-F5344CB8AC3E}">
        <p14:creationId xmlns:p14="http://schemas.microsoft.com/office/powerpoint/2010/main" val="24291641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Abschnittstrennfolie weißer Hintergrund 2 Textfelder">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75C06E-A0B8-AE1A-64B7-D6BE99D5A5C4}"/>
              </a:ext>
            </a:extLst>
          </p:cNvPr>
          <p:cNvSpPr>
            <a:spLocks noGrp="1"/>
          </p:cNvSpPr>
          <p:nvPr>
            <p:ph type="title" hasCustomPrompt="1"/>
          </p:nvPr>
        </p:nvSpPr>
        <p:spPr>
          <a:xfrm>
            <a:off x="903858" y="0"/>
            <a:ext cx="5048126" cy="6858000"/>
          </a:xfrm>
        </p:spPr>
        <p:txBody>
          <a:bodyPr anchor="ctr" anchorCtr="0"/>
          <a:lstStyle>
            <a:lvl1pPr algn="r">
              <a:lnSpc>
                <a:spcPct val="100000"/>
              </a:lnSpc>
              <a:defRPr sz="8000" b="0" baseline="0">
                <a:latin typeface="+mj-lt"/>
              </a:defRPr>
            </a:lvl1pPr>
          </a:lstStyle>
          <a:p>
            <a:r>
              <a:rPr lang="de-DE" dirty="0"/>
              <a:t>Text</a:t>
            </a:r>
          </a:p>
        </p:txBody>
      </p:sp>
      <p:sp>
        <p:nvSpPr>
          <p:cNvPr id="3" name="Textplatzhalter 2">
            <a:extLst>
              <a:ext uri="{FF2B5EF4-FFF2-40B4-BE49-F238E27FC236}">
                <a16:creationId xmlns:a16="http://schemas.microsoft.com/office/drawing/2014/main" id="{1D29BB5A-0EDE-CABA-B4F3-36E08CCD71E7}"/>
              </a:ext>
            </a:extLst>
          </p:cNvPr>
          <p:cNvSpPr>
            <a:spLocks noGrp="1"/>
          </p:cNvSpPr>
          <p:nvPr>
            <p:ph type="body" idx="13" hasCustomPrompt="1"/>
          </p:nvPr>
        </p:nvSpPr>
        <p:spPr>
          <a:xfrm>
            <a:off x="6024592" y="0"/>
            <a:ext cx="5400000" cy="6858000"/>
          </a:xfrm>
        </p:spPr>
        <p:txBody>
          <a:bodyPr anchor="ctr"/>
          <a:lstStyle>
            <a:lvl1pPr marL="0" indent="0">
              <a:spcBef>
                <a:spcPts val="0"/>
              </a:spcBef>
              <a:spcAft>
                <a:spcPts val="0"/>
              </a:spcAft>
              <a:buNone/>
              <a:defRPr sz="80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err="1"/>
              <a:t>text</a:t>
            </a:r>
            <a:endParaRPr lang="de-DE" dirty="0"/>
          </a:p>
        </p:txBody>
      </p:sp>
    </p:spTree>
    <p:extLst>
      <p:ext uri="{BB962C8B-B14F-4D97-AF65-F5344CB8AC3E}">
        <p14:creationId xmlns:p14="http://schemas.microsoft.com/office/powerpoint/2010/main" val="5457617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Pfeil vertikal Inhalt">
    <p:spTree>
      <p:nvGrpSpPr>
        <p:cNvPr id="1" name=""/>
        <p:cNvGrpSpPr/>
        <p:nvPr/>
      </p:nvGrpSpPr>
      <p:grpSpPr>
        <a:xfrm>
          <a:off x="0" y="0"/>
          <a:ext cx="0" cy="0"/>
          <a:chOff x="0" y="0"/>
          <a:chExt cx="0" cy="0"/>
        </a:xfrm>
      </p:grpSpPr>
      <p:sp>
        <p:nvSpPr>
          <p:cNvPr id="8" name="Textplatzhalter 44">
            <a:extLst>
              <a:ext uri="{FF2B5EF4-FFF2-40B4-BE49-F238E27FC236}">
                <a16:creationId xmlns:a16="http://schemas.microsoft.com/office/drawing/2014/main" id="{09E7AD6B-6F8C-55B8-4FD9-D853181B5B98}"/>
              </a:ext>
            </a:extLst>
          </p:cNvPr>
          <p:cNvSpPr>
            <a:spLocks noGrp="1"/>
          </p:cNvSpPr>
          <p:nvPr>
            <p:ph type="body" sz="quarter" idx="20"/>
          </p:nvPr>
        </p:nvSpPr>
        <p:spPr>
          <a:xfrm>
            <a:off x="540000" y="1836000"/>
            <a:ext cx="11158514" cy="864406"/>
          </a:xfrm>
          <a:prstGeom prst="homePlate">
            <a:avLst>
              <a:gd name="adj" fmla="val 22440"/>
            </a:avLst>
          </a:prstGeom>
          <a:solidFill>
            <a:schemeClr val="accent1"/>
          </a:solidFill>
        </p:spPr>
        <p:txBody>
          <a:bodyPr lIns="180000" tIns="36000" rIns="72000" bIns="36000" anchor="ctr"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2B3B5843-6B3D-3E91-C918-15D7C3C8A421}"/>
              </a:ext>
            </a:extLst>
          </p:cNvPr>
          <p:cNvSpPr>
            <a:spLocks noGrp="1"/>
          </p:cNvSpPr>
          <p:nvPr>
            <p:ph idx="1"/>
          </p:nvPr>
        </p:nvSpPr>
        <p:spPr>
          <a:xfrm>
            <a:off x="719998" y="2878786"/>
            <a:ext cx="10800000" cy="342000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D1F6572-329A-4E72-D77B-49C67A7FD141}"/>
              </a:ext>
            </a:extLst>
          </p:cNvPr>
          <p:cNvSpPr>
            <a:spLocks noGrp="1"/>
          </p:cNvSpPr>
          <p:nvPr>
            <p:ph type="dt" sz="half" idx="10"/>
          </p:nvPr>
        </p:nvSpPr>
        <p:spPr/>
        <p:txBody>
          <a:bodyPr/>
          <a:lstStyle/>
          <a:p>
            <a:fld id="{E19C86F7-21BD-4FF6-B535-144536D0391F}" type="datetime1">
              <a:rPr lang="de-DE" smtClean="0"/>
              <a:t>30.11.2024</a:t>
            </a:fld>
            <a:endParaRPr lang="de-DE"/>
          </a:p>
        </p:txBody>
      </p:sp>
      <p:sp>
        <p:nvSpPr>
          <p:cNvPr id="5" name="Fußzeilenplatzhalter 4">
            <a:extLst>
              <a:ext uri="{FF2B5EF4-FFF2-40B4-BE49-F238E27FC236}">
                <a16:creationId xmlns:a16="http://schemas.microsoft.com/office/drawing/2014/main" id="{6E86717B-2EA4-4A72-A334-0F4C15DCA195}"/>
              </a:ext>
            </a:extLst>
          </p:cNvPr>
          <p:cNvSpPr>
            <a:spLocks noGrp="1"/>
          </p:cNvSpPr>
          <p:nvPr>
            <p:ph type="ftr" sz="quarter" idx="11"/>
          </p:nvPr>
        </p:nvSpPr>
        <p:spPr/>
        <p:txBody>
          <a:bodyPr/>
          <a:lstStyle/>
          <a:p>
            <a:r>
              <a:rPr lang="de-DE"/>
              <a:t>Unternehmenspräsentation</a:t>
            </a:r>
          </a:p>
        </p:txBody>
      </p:sp>
      <p:sp>
        <p:nvSpPr>
          <p:cNvPr id="6" name="Foliennummernplatzhalter 5">
            <a:extLst>
              <a:ext uri="{FF2B5EF4-FFF2-40B4-BE49-F238E27FC236}">
                <a16:creationId xmlns:a16="http://schemas.microsoft.com/office/drawing/2014/main" id="{29E4FAA3-E657-7565-2172-3ED52433D9D2}"/>
              </a:ext>
            </a:extLst>
          </p:cNvPr>
          <p:cNvSpPr>
            <a:spLocks noGrp="1"/>
          </p:cNvSpPr>
          <p:nvPr>
            <p:ph type="sldNum" sz="quarter" idx="12"/>
          </p:nvPr>
        </p:nvSpPr>
        <p:spPr/>
        <p:txBody>
          <a:bodyPr/>
          <a:lstStyle/>
          <a:p>
            <a:fld id="{898D279D-9EEE-4375-932F-276CB614E9A4}" type="slidenum">
              <a:rPr lang="de-DE" smtClean="0"/>
              <a:t>‹#›</a:t>
            </a:fld>
            <a:endParaRPr lang="de-DE"/>
          </a:p>
        </p:txBody>
      </p:sp>
      <p:sp>
        <p:nvSpPr>
          <p:cNvPr id="9" name="Titel 1">
            <a:extLst>
              <a:ext uri="{FF2B5EF4-FFF2-40B4-BE49-F238E27FC236}">
                <a16:creationId xmlns:a16="http://schemas.microsoft.com/office/drawing/2014/main" id="{59CBAADD-9C68-6E10-0C47-1FAD2022FFD0}"/>
              </a:ext>
            </a:extLst>
          </p:cNvPr>
          <p:cNvSpPr>
            <a:spLocks noGrp="1"/>
          </p:cNvSpPr>
          <p:nvPr>
            <p:ph type="title"/>
          </p:nvPr>
        </p:nvSpPr>
        <p:spPr>
          <a:xfrm>
            <a:off x="720000" y="188640"/>
            <a:ext cx="10801350" cy="720000"/>
          </a:xfrm>
        </p:spPr>
        <p:txBody>
          <a:bodyPr/>
          <a:lstStyle>
            <a:lvl1pPr>
              <a:defRPr sz="3000"/>
            </a:lvl1pPr>
          </a:lstStyle>
          <a:p>
            <a:r>
              <a:rPr lang="de-DE"/>
              <a:t>Mastertitelformat bearbeiten</a:t>
            </a:r>
          </a:p>
        </p:txBody>
      </p:sp>
    </p:spTree>
    <p:extLst>
      <p:ext uri="{BB962C8B-B14F-4D97-AF65-F5344CB8AC3E}">
        <p14:creationId xmlns:p14="http://schemas.microsoft.com/office/powerpoint/2010/main" val="260075635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rennfolie 2">
    <p:bg>
      <p:bgPr>
        <a:solidFill>
          <a:schemeClr val="tx2"/>
        </a:solidFill>
        <a:effectLst/>
      </p:bgPr>
    </p:bg>
    <p:spTree>
      <p:nvGrpSpPr>
        <p:cNvPr id="1" name=""/>
        <p:cNvGrpSpPr/>
        <p:nvPr/>
      </p:nvGrpSpPr>
      <p:grpSpPr>
        <a:xfrm>
          <a:off x="0" y="0"/>
          <a:ext cx="0" cy="0"/>
          <a:chOff x="0" y="0"/>
          <a:chExt cx="0" cy="0"/>
        </a:xfrm>
      </p:grpSpPr>
      <p:sp>
        <p:nvSpPr>
          <p:cNvPr id="16" name="Textplatzhalter 16">
            <a:extLst>
              <a:ext uri="{FF2B5EF4-FFF2-40B4-BE49-F238E27FC236}">
                <a16:creationId xmlns:a16="http://schemas.microsoft.com/office/drawing/2014/main" id="{BA6BFBA8-0E32-A588-53C1-7AE1726C7B00}"/>
              </a:ext>
            </a:extLst>
          </p:cNvPr>
          <p:cNvSpPr>
            <a:spLocks noGrp="1"/>
          </p:cNvSpPr>
          <p:nvPr>
            <p:ph type="body" sz="quarter" idx="20"/>
          </p:nvPr>
        </p:nvSpPr>
        <p:spPr bwMode="black">
          <a:xfrm>
            <a:off x="695325" y="1125538"/>
            <a:ext cx="10801349" cy="5183187"/>
          </a:xfrm>
        </p:spPr>
        <p:txBody>
          <a:bodyPr bIns="504000" anchor="ctr" anchorCtr="0"/>
          <a:lstStyle>
            <a:lvl1pPr algn="ctr">
              <a:defRPr sz="8000">
                <a:solidFill>
                  <a:schemeClr val="bg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3" name="Textplatzhalter 5">
            <a:extLst>
              <a:ext uri="{FF2B5EF4-FFF2-40B4-BE49-F238E27FC236}">
                <a16:creationId xmlns:a16="http://schemas.microsoft.com/office/drawing/2014/main" id="{E2353D86-2D99-8247-67FF-991C405E4128}"/>
              </a:ext>
            </a:extLst>
          </p:cNvPr>
          <p:cNvSpPr>
            <a:spLocks noGrp="1"/>
          </p:cNvSpPr>
          <p:nvPr>
            <p:ph type="body" sz="quarter" idx="29" hasCustomPrompt="1"/>
          </p:nvPr>
        </p:nvSpPr>
        <p:spPr bwMode="white">
          <a:xfrm>
            <a:off x="10613601" y="553447"/>
            <a:ext cx="918000" cy="2088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de-DE" dirty="0"/>
              <a:t> </a:t>
            </a:r>
            <a:endParaRPr lang="en-US" dirty="0"/>
          </a:p>
        </p:txBody>
      </p:sp>
    </p:spTree>
    <p:extLst>
      <p:ext uri="{BB962C8B-B14F-4D97-AF65-F5344CB8AC3E}">
        <p14:creationId xmlns:p14="http://schemas.microsoft.com/office/powerpoint/2010/main" val="2165083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rennfolie 3">
    <p:bg>
      <p:bgPr>
        <a:solidFill>
          <a:schemeClr val="bg1"/>
        </a:solidFill>
        <a:effectLst/>
      </p:bgPr>
    </p:bg>
    <p:spTree>
      <p:nvGrpSpPr>
        <p:cNvPr id="1" name=""/>
        <p:cNvGrpSpPr/>
        <p:nvPr/>
      </p:nvGrpSpPr>
      <p:grpSpPr>
        <a:xfrm>
          <a:off x="0" y="0"/>
          <a:ext cx="0" cy="0"/>
          <a:chOff x="0" y="0"/>
          <a:chExt cx="0" cy="0"/>
        </a:xfrm>
      </p:grpSpPr>
      <p:sp>
        <p:nvSpPr>
          <p:cNvPr id="16" name="Textplatzhalter 16">
            <a:extLst>
              <a:ext uri="{FF2B5EF4-FFF2-40B4-BE49-F238E27FC236}">
                <a16:creationId xmlns:a16="http://schemas.microsoft.com/office/drawing/2014/main" id="{BA6BFBA8-0E32-A588-53C1-7AE1726C7B00}"/>
              </a:ext>
            </a:extLst>
          </p:cNvPr>
          <p:cNvSpPr>
            <a:spLocks noGrp="1"/>
          </p:cNvSpPr>
          <p:nvPr>
            <p:ph type="body" sz="quarter" idx="20"/>
          </p:nvPr>
        </p:nvSpPr>
        <p:spPr bwMode="black">
          <a:xfrm>
            <a:off x="695325" y="1125538"/>
            <a:ext cx="10801349" cy="5183187"/>
          </a:xfrm>
        </p:spPr>
        <p:txBody>
          <a:bodyPr bIns="504000" anchor="ctr" anchorCtr="0"/>
          <a:lstStyle>
            <a:lvl1pPr algn="ctr">
              <a:defRPr sz="8000">
                <a:solidFill>
                  <a:schemeClr val="tx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pic>
        <p:nvPicPr>
          <p:cNvPr id="2" name="Grafik 1">
            <a:extLst>
              <a:ext uri="{FF2B5EF4-FFF2-40B4-BE49-F238E27FC236}">
                <a16:creationId xmlns:a16="http://schemas.microsoft.com/office/drawing/2014/main" id="{DD8E51B4-704E-C42B-B3F3-9D54CB1A33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613601" y="553447"/>
            <a:ext cx="918000" cy="209082"/>
          </a:xfrm>
          <a:prstGeom prst="rect">
            <a:avLst/>
          </a:prstGeom>
        </p:spPr>
      </p:pic>
    </p:spTree>
    <p:extLst>
      <p:ext uri="{BB962C8B-B14F-4D97-AF65-F5344CB8AC3E}">
        <p14:creationId xmlns:p14="http://schemas.microsoft.com/office/powerpoint/2010/main" val="29264000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nhalte">
    <p:bg>
      <p:bgPr>
        <a:solidFill>
          <a:schemeClr val="accent2"/>
        </a:solidFill>
        <a:effectLst/>
      </p:bgPr>
    </p:bg>
    <p:spTree>
      <p:nvGrpSpPr>
        <p:cNvPr id="1" name=""/>
        <p:cNvGrpSpPr/>
        <p:nvPr/>
      </p:nvGrpSpPr>
      <p:grpSpPr>
        <a:xfrm>
          <a:off x="0" y="0"/>
          <a:ext cx="0" cy="0"/>
          <a:chOff x="0" y="0"/>
          <a:chExt cx="0" cy="0"/>
        </a:xfrm>
      </p:grpSpPr>
      <p:grpSp>
        <p:nvGrpSpPr>
          <p:cNvPr id="13" name="Gruppieren 12">
            <a:extLst>
              <a:ext uri="{FF2B5EF4-FFF2-40B4-BE49-F238E27FC236}">
                <a16:creationId xmlns:a16="http://schemas.microsoft.com/office/drawing/2014/main" id="{65E14DA2-ECD4-9453-A009-2561FF5D73FB}"/>
              </a:ext>
            </a:extLst>
          </p:cNvPr>
          <p:cNvGrpSpPr>
            <a:grpSpLocks noChangeAspect="1"/>
          </p:cNvGrpSpPr>
          <p:nvPr userDrawn="1"/>
        </p:nvGrpSpPr>
        <p:grpSpPr bwMode="black">
          <a:xfrm>
            <a:off x="10618491" y="555823"/>
            <a:ext cx="909663" cy="200530"/>
            <a:chOff x="7776000" y="5184000"/>
            <a:chExt cx="2307067" cy="508579"/>
          </a:xfrm>
        </p:grpSpPr>
        <p:sp>
          <p:nvSpPr>
            <p:cNvPr id="14" name="Freihandform: Form 13">
              <a:extLst>
                <a:ext uri="{FF2B5EF4-FFF2-40B4-BE49-F238E27FC236}">
                  <a16:creationId xmlns:a16="http://schemas.microsoft.com/office/drawing/2014/main" id="{C60BE111-84A2-F09E-8883-DE022B70566E}"/>
                </a:ext>
              </a:extLst>
            </p:cNvPr>
            <p:cNvSpPr/>
            <p:nvPr/>
          </p:nvSpPr>
          <p:spPr bwMode="black">
            <a:xfrm>
              <a:off x="7776000" y="5184000"/>
              <a:ext cx="508579" cy="508579"/>
            </a:xfrm>
            <a:custGeom>
              <a:avLst/>
              <a:gdLst>
                <a:gd name="connsiteX0" fmla="*/ 0 w 508579"/>
                <a:gd name="connsiteY0" fmla="*/ 0 h 508579"/>
                <a:gd name="connsiteX1" fmla="*/ 508579 w 508579"/>
                <a:gd name="connsiteY1" fmla="*/ 0 h 508579"/>
                <a:gd name="connsiteX2" fmla="*/ 508579 w 508579"/>
                <a:gd name="connsiteY2" fmla="*/ 508579 h 508579"/>
                <a:gd name="connsiteX3" fmla="*/ 0 w 508579"/>
                <a:gd name="connsiteY3" fmla="*/ 508579 h 508579"/>
              </a:gdLst>
              <a:ahLst/>
              <a:cxnLst>
                <a:cxn ang="0">
                  <a:pos x="connsiteX0" y="connsiteY0"/>
                </a:cxn>
                <a:cxn ang="0">
                  <a:pos x="connsiteX1" y="connsiteY1"/>
                </a:cxn>
                <a:cxn ang="0">
                  <a:pos x="connsiteX2" y="connsiteY2"/>
                </a:cxn>
                <a:cxn ang="0">
                  <a:pos x="connsiteX3" y="connsiteY3"/>
                </a:cxn>
              </a:cxnLst>
              <a:rect l="l" t="t" r="r" b="b"/>
              <a:pathLst>
                <a:path w="508579" h="508579">
                  <a:moveTo>
                    <a:pt x="0" y="0"/>
                  </a:moveTo>
                  <a:lnTo>
                    <a:pt x="508579" y="0"/>
                  </a:lnTo>
                  <a:lnTo>
                    <a:pt x="508579" y="508579"/>
                  </a:lnTo>
                  <a:lnTo>
                    <a:pt x="0" y="508579"/>
                  </a:lnTo>
                  <a:close/>
                </a:path>
              </a:pathLst>
            </a:custGeom>
            <a:noFill/>
            <a:ln w="12700" cap="flat">
              <a:solidFill>
                <a:schemeClr val="bg1"/>
              </a:solidFill>
              <a:prstDash val="solid"/>
              <a:miter/>
            </a:ln>
          </p:spPr>
          <p:txBody>
            <a:bodyPr rtlCol="0" anchor="ctr"/>
            <a:lstStyle/>
            <a:p>
              <a:endParaRPr lang="de-DE" dirty="0"/>
            </a:p>
          </p:txBody>
        </p:sp>
        <p:sp>
          <p:nvSpPr>
            <p:cNvPr id="15" name="Freihandform: Form 14">
              <a:extLst>
                <a:ext uri="{FF2B5EF4-FFF2-40B4-BE49-F238E27FC236}">
                  <a16:creationId xmlns:a16="http://schemas.microsoft.com/office/drawing/2014/main" id="{6BBF1A6C-E15D-BD87-FF5C-F9CF0269DAD5}"/>
                </a:ext>
              </a:extLst>
            </p:cNvPr>
            <p:cNvSpPr/>
            <p:nvPr/>
          </p:nvSpPr>
          <p:spPr bwMode="black">
            <a:xfrm>
              <a:off x="8592498" y="5229544"/>
              <a:ext cx="360519" cy="374526"/>
            </a:xfrm>
            <a:custGeom>
              <a:avLst/>
              <a:gdLst>
                <a:gd name="connsiteX0" fmla="*/ 245650 w 360519"/>
                <a:gd name="connsiteY0" fmla="*/ 301600 h 374526"/>
                <a:gd name="connsiteX1" fmla="*/ 109846 w 360519"/>
                <a:gd name="connsiteY1" fmla="*/ 301600 h 374526"/>
                <a:gd name="connsiteX2" fmla="*/ 88912 w 360519"/>
                <a:gd name="connsiteY2" fmla="*/ 374526 h 374526"/>
                <a:gd name="connsiteX3" fmla="*/ 0 w 360519"/>
                <a:gd name="connsiteY3" fmla="*/ 374526 h 374526"/>
                <a:gd name="connsiteX4" fmla="*/ 129333 w 360519"/>
                <a:gd name="connsiteY4" fmla="*/ 0 h 374526"/>
                <a:gd name="connsiteX5" fmla="*/ 229664 w 360519"/>
                <a:gd name="connsiteY5" fmla="*/ 0 h 374526"/>
                <a:gd name="connsiteX6" fmla="*/ 360520 w 360519"/>
                <a:gd name="connsiteY6" fmla="*/ 374526 h 374526"/>
                <a:gd name="connsiteX7" fmla="*/ 266660 w 360519"/>
                <a:gd name="connsiteY7" fmla="*/ 374526 h 374526"/>
                <a:gd name="connsiteX8" fmla="*/ 245726 w 360519"/>
                <a:gd name="connsiteY8" fmla="*/ 301600 h 374526"/>
                <a:gd name="connsiteX9" fmla="*/ 167776 w 360519"/>
                <a:gd name="connsiteY9" fmla="*/ 102843 h 374526"/>
                <a:gd name="connsiteX10" fmla="*/ 130323 w 360519"/>
                <a:gd name="connsiteY10" fmla="*/ 231186 h 374526"/>
                <a:gd name="connsiteX11" fmla="*/ 225705 w 360519"/>
                <a:gd name="connsiteY11" fmla="*/ 231186 h 374526"/>
                <a:gd name="connsiteX12" fmla="*/ 189775 w 360519"/>
                <a:gd name="connsiteY12" fmla="*/ 102843 h 374526"/>
                <a:gd name="connsiteX13" fmla="*/ 179803 w 360519"/>
                <a:gd name="connsiteY13" fmla="*/ 63411 h 374526"/>
                <a:gd name="connsiteX14" fmla="*/ 178281 w 360519"/>
                <a:gd name="connsiteY14" fmla="*/ 63411 h 374526"/>
                <a:gd name="connsiteX15" fmla="*/ 167776 w 360519"/>
                <a:gd name="connsiteY15" fmla="*/ 102843 h 37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0519" h="374526">
                  <a:moveTo>
                    <a:pt x="245650" y="301600"/>
                  </a:moveTo>
                  <a:lnTo>
                    <a:pt x="109846" y="301600"/>
                  </a:lnTo>
                  <a:lnTo>
                    <a:pt x="88912" y="374526"/>
                  </a:lnTo>
                  <a:lnTo>
                    <a:pt x="0" y="374526"/>
                  </a:lnTo>
                  <a:lnTo>
                    <a:pt x="129333" y="0"/>
                  </a:lnTo>
                  <a:lnTo>
                    <a:pt x="229664" y="0"/>
                  </a:lnTo>
                  <a:lnTo>
                    <a:pt x="360520" y="374526"/>
                  </a:lnTo>
                  <a:lnTo>
                    <a:pt x="266660" y="374526"/>
                  </a:lnTo>
                  <a:lnTo>
                    <a:pt x="245726" y="301600"/>
                  </a:lnTo>
                  <a:close/>
                  <a:moveTo>
                    <a:pt x="167776" y="102843"/>
                  </a:moveTo>
                  <a:lnTo>
                    <a:pt x="130323" y="231186"/>
                  </a:lnTo>
                  <a:lnTo>
                    <a:pt x="225705" y="231186"/>
                  </a:lnTo>
                  <a:lnTo>
                    <a:pt x="189775" y="102843"/>
                  </a:lnTo>
                  <a:lnTo>
                    <a:pt x="179803" y="63411"/>
                  </a:lnTo>
                  <a:lnTo>
                    <a:pt x="178281" y="63411"/>
                  </a:lnTo>
                  <a:lnTo>
                    <a:pt x="167776" y="102843"/>
                  </a:lnTo>
                  <a:close/>
                </a:path>
              </a:pathLst>
            </a:custGeom>
            <a:solidFill>
              <a:schemeClr val="bg1"/>
            </a:solidFill>
            <a:ln w="7592" cap="flat">
              <a:noFill/>
              <a:prstDash val="solid"/>
              <a:miter/>
            </a:ln>
          </p:spPr>
          <p:txBody>
            <a:bodyPr rtlCol="0" anchor="ctr"/>
            <a:lstStyle/>
            <a:p>
              <a:endParaRPr lang="de-DE" dirty="0"/>
            </a:p>
          </p:txBody>
        </p:sp>
        <p:sp>
          <p:nvSpPr>
            <p:cNvPr id="16" name="Freihandform: Form 15">
              <a:extLst>
                <a:ext uri="{FF2B5EF4-FFF2-40B4-BE49-F238E27FC236}">
                  <a16:creationId xmlns:a16="http://schemas.microsoft.com/office/drawing/2014/main" id="{92C5F630-8365-DDD2-4CDE-0CFAF836B3A8}"/>
                </a:ext>
              </a:extLst>
            </p:cNvPr>
            <p:cNvSpPr/>
            <p:nvPr/>
          </p:nvSpPr>
          <p:spPr bwMode="black">
            <a:xfrm>
              <a:off x="8965502" y="5274076"/>
              <a:ext cx="241158" cy="336007"/>
            </a:xfrm>
            <a:custGeom>
              <a:avLst/>
              <a:gdLst>
                <a:gd name="connsiteX0" fmla="*/ 231719 w 241158"/>
                <a:gd name="connsiteY0" fmla="*/ 80310 h 336007"/>
                <a:gd name="connsiteX1" fmla="*/ 163817 w 241158"/>
                <a:gd name="connsiteY1" fmla="*/ 68815 h 336007"/>
                <a:gd name="connsiteX2" fmla="*/ 81909 w 241158"/>
                <a:gd name="connsiteY2" fmla="*/ 166710 h 336007"/>
                <a:gd name="connsiteX3" fmla="*/ 164807 w 241158"/>
                <a:gd name="connsiteY3" fmla="*/ 268563 h 336007"/>
                <a:gd name="connsiteX4" fmla="*/ 232709 w 241158"/>
                <a:gd name="connsiteY4" fmla="*/ 255089 h 336007"/>
                <a:gd name="connsiteX5" fmla="*/ 241158 w 241158"/>
                <a:gd name="connsiteY5" fmla="*/ 317510 h 336007"/>
                <a:gd name="connsiteX6" fmla="*/ 154302 w 241158"/>
                <a:gd name="connsiteY6" fmla="*/ 336008 h 336007"/>
                <a:gd name="connsiteX7" fmla="*/ 0 w 241158"/>
                <a:gd name="connsiteY7" fmla="*/ 166253 h 336007"/>
                <a:gd name="connsiteX8" fmla="*/ 159783 w 241158"/>
                <a:gd name="connsiteY8" fmla="*/ 0 h 336007"/>
                <a:gd name="connsiteX9" fmla="*/ 240169 w 241158"/>
                <a:gd name="connsiteY9" fmla="*/ 14007 h 336007"/>
                <a:gd name="connsiteX10" fmla="*/ 231719 w 241158"/>
                <a:gd name="connsiteY10" fmla="*/ 80386 h 33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158" h="336007">
                  <a:moveTo>
                    <a:pt x="231719" y="80310"/>
                  </a:moveTo>
                  <a:cubicBezTo>
                    <a:pt x="213754" y="73307"/>
                    <a:pt x="190232" y="68815"/>
                    <a:pt x="163817" y="68815"/>
                  </a:cubicBezTo>
                  <a:cubicBezTo>
                    <a:pt x="101929" y="68815"/>
                    <a:pt x="81909" y="92794"/>
                    <a:pt x="81909" y="166710"/>
                  </a:cubicBezTo>
                  <a:cubicBezTo>
                    <a:pt x="81909" y="244584"/>
                    <a:pt x="102842" y="268563"/>
                    <a:pt x="164807" y="268563"/>
                  </a:cubicBezTo>
                  <a:cubicBezTo>
                    <a:pt x="190765" y="268563"/>
                    <a:pt x="213754" y="263082"/>
                    <a:pt x="232709" y="255089"/>
                  </a:cubicBezTo>
                  <a:lnTo>
                    <a:pt x="241158" y="317510"/>
                  </a:lnTo>
                  <a:cubicBezTo>
                    <a:pt x="217180" y="328472"/>
                    <a:pt x="184751" y="336008"/>
                    <a:pt x="154302" y="336008"/>
                  </a:cubicBezTo>
                  <a:cubicBezTo>
                    <a:pt x="50926" y="336008"/>
                    <a:pt x="0" y="280057"/>
                    <a:pt x="0" y="166253"/>
                  </a:cubicBezTo>
                  <a:cubicBezTo>
                    <a:pt x="0" y="59376"/>
                    <a:pt x="48947" y="0"/>
                    <a:pt x="159783" y="0"/>
                  </a:cubicBezTo>
                  <a:cubicBezTo>
                    <a:pt x="187720" y="0"/>
                    <a:pt x="219235" y="6470"/>
                    <a:pt x="240169" y="14007"/>
                  </a:cubicBezTo>
                  <a:lnTo>
                    <a:pt x="231719" y="80386"/>
                  </a:lnTo>
                  <a:close/>
                </a:path>
              </a:pathLst>
            </a:custGeom>
            <a:solidFill>
              <a:schemeClr val="bg1"/>
            </a:solidFill>
            <a:ln w="7592" cap="flat">
              <a:noFill/>
              <a:prstDash val="solid"/>
              <a:miter/>
            </a:ln>
          </p:spPr>
          <p:txBody>
            <a:bodyPr rtlCol="0" anchor="ctr"/>
            <a:lstStyle/>
            <a:p>
              <a:endParaRPr lang="de-DE" dirty="0"/>
            </a:p>
          </p:txBody>
        </p:sp>
        <p:sp>
          <p:nvSpPr>
            <p:cNvPr id="17" name="Freihandform: Form 16">
              <a:extLst>
                <a:ext uri="{FF2B5EF4-FFF2-40B4-BE49-F238E27FC236}">
                  <a16:creationId xmlns:a16="http://schemas.microsoft.com/office/drawing/2014/main" id="{A294784D-5109-4433-8699-494DA2854585}"/>
                </a:ext>
              </a:extLst>
            </p:cNvPr>
            <p:cNvSpPr/>
            <p:nvPr/>
          </p:nvSpPr>
          <p:spPr bwMode="black">
            <a:xfrm>
              <a:off x="9234141" y="5274076"/>
              <a:ext cx="241158" cy="336007"/>
            </a:xfrm>
            <a:custGeom>
              <a:avLst/>
              <a:gdLst>
                <a:gd name="connsiteX0" fmla="*/ 231719 w 241158"/>
                <a:gd name="connsiteY0" fmla="*/ 80310 h 336007"/>
                <a:gd name="connsiteX1" fmla="*/ 163817 w 241158"/>
                <a:gd name="connsiteY1" fmla="*/ 68815 h 336007"/>
                <a:gd name="connsiteX2" fmla="*/ 81909 w 241158"/>
                <a:gd name="connsiteY2" fmla="*/ 166710 h 336007"/>
                <a:gd name="connsiteX3" fmla="*/ 164807 w 241158"/>
                <a:gd name="connsiteY3" fmla="*/ 268563 h 336007"/>
                <a:gd name="connsiteX4" fmla="*/ 232709 w 241158"/>
                <a:gd name="connsiteY4" fmla="*/ 255089 h 336007"/>
                <a:gd name="connsiteX5" fmla="*/ 241158 w 241158"/>
                <a:gd name="connsiteY5" fmla="*/ 317510 h 336007"/>
                <a:gd name="connsiteX6" fmla="*/ 154302 w 241158"/>
                <a:gd name="connsiteY6" fmla="*/ 336008 h 336007"/>
                <a:gd name="connsiteX7" fmla="*/ 0 w 241158"/>
                <a:gd name="connsiteY7" fmla="*/ 166253 h 336007"/>
                <a:gd name="connsiteX8" fmla="*/ 159783 w 241158"/>
                <a:gd name="connsiteY8" fmla="*/ 0 h 336007"/>
                <a:gd name="connsiteX9" fmla="*/ 240169 w 241158"/>
                <a:gd name="connsiteY9" fmla="*/ 14007 h 336007"/>
                <a:gd name="connsiteX10" fmla="*/ 231719 w 241158"/>
                <a:gd name="connsiteY10" fmla="*/ 80386 h 33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158" h="336007">
                  <a:moveTo>
                    <a:pt x="231719" y="80310"/>
                  </a:moveTo>
                  <a:cubicBezTo>
                    <a:pt x="213754" y="73307"/>
                    <a:pt x="190232" y="68815"/>
                    <a:pt x="163817" y="68815"/>
                  </a:cubicBezTo>
                  <a:cubicBezTo>
                    <a:pt x="101929" y="68815"/>
                    <a:pt x="81909" y="92794"/>
                    <a:pt x="81909" y="166710"/>
                  </a:cubicBezTo>
                  <a:cubicBezTo>
                    <a:pt x="81909" y="244584"/>
                    <a:pt x="102842" y="268563"/>
                    <a:pt x="164807" y="268563"/>
                  </a:cubicBezTo>
                  <a:cubicBezTo>
                    <a:pt x="190765" y="268563"/>
                    <a:pt x="213754" y="263082"/>
                    <a:pt x="232709" y="255089"/>
                  </a:cubicBezTo>
                  <a:lnTo>
                    <a:pt x="241158" y="317510"/>
                  </a:lnTo>
                  <a:cubicBezTo>
                    <a:pt x="217180" y="328472"/>
                    <a:pt x="184751" y="336008"/>
                    <a:pt x="154302" y="336008"/>
                  </a:cubicBezTo>
                  <a:cubicBezTo>
                    <a:pt x="50926" y="336008"/>
                    <a:pt x="0" y="280057"/>
                    <a:pt x="0" y="166253"/>
                  </a:cubicBezTo>
                  <a:cubicBezTo>
                    <a:pt x="0" y="59376"/>
                    <a:pt x="48947" y="0"/>
                    <a:pt x="159783" y="0"/>
                  </a:cubicBezTo>
                  <a:cubicBezTo>
                    <a:pt x="187720" y="0"/>
                    <a:pt x="219235" y="6470"/>
                    <a:pt x="240169" y="14007"/>
                  </a:cubicBezTo>
                  <a:lnTo>
                    <a:pt x="231719" y="80386"/>
                  </a:lnTo>
                  <a:close/>
                </a:path>
              </a:pathLst>
            </a:custGeom>
            <a:solidFill>
              <a:schemeClr val="bg1"/>
            </a:solidFill>
            <a:ln w="7592" cap="flat">
              <a:noFill/>
              <a:prstDash val="solid"/>
              <a:miter/>
            </a:ln>
          </p:spPr>
          <p:txBody>
            <a:bodyPr rtlCol="0" anchor="ctr"/>
            <a:lstStyle/>
            <a:p>
              <a:endParaRPr lang="de-DE" dirty="0"/>
            </a:p>
          </p:txBody>
        </p:sp>
        <p:sp>
          <p:nvSpPr>
            <p:cNvPr id="18" name="Freihandform: Form 17">
              <a:extLst>
                <a:ext uri="{FF2B5EF4-FFF2-40B4-BE49-F238E27FC236}">
                  <a16:creationId xmlns:a16="http://schemas.microsoft.com/office/drawing/2014/main" id="{183612A5-D1B5-4955-2831-76FBC99F8758}"/>
                </a:ext>
              </a:extLst>
            </p:cNvPr>
            <p:cNvSpPr/>
            <p:nvPr/>
          </p:nvSpPr>
          <p:spPr bwMode="black">
            <a:xfrm>
              <a:off x="9513285" y="5274609"/>
              <a:ext cx="233698" cy="335627"/>
            </a:xfrm>
            <a:custGeom>
              <a:avLst/>
              <a:gdLst>
                <a:gd name="connsiteX0" fmla="*/ 106877 w 233698"/>
                <a:gd name="connsiteY0" fmla="*/ 335475 h 335627"/>
                <a:gd name="connsiteX1" fmla="*/ 0 w 233698"/>
                <a:gd name="connsiteY1" fmla="*/ 311040 h 335627"/>
                <a:gd name="connsiteX2" fmla="*/ 9972 w 233698"/>
                <a:gd name="connsiteY2" fmla="*/ 244660 h 335627"/>
                <a:gd name="connsiteX3" fmla="*/ 106344 w 233698"/>
                <a:gd name="connsiteY3" fmla="*/ 269629 h 335627"/>
                <a:gd name="connsiteX4" fmla="*/ 158793 w 233698"/>
                <a:gd name="connsiteY4" fmla="*/ 236667 h 335627"/>
                <a:gd name="connsiteX5" fmla="*/ 1446 w 233698"/>
                <a:gd name="connsiteY5" fmla="*/ 100863 h 335627"/>
                <a:gd name="connsiteX6" fmla="*/ 125299 w 233698"/>
                <a:gd name="connsiteY6" fmla="*/ 0 h 335627"/>
                <a:gd name="connsiteX7" fmla="*/ 222204 w 233698"/>
                <a:gd name="connsiteY7" fmla="*/ 17508 h 335627"/>
                <a:gd name="connsiteX8" fmla="*/ 213221 w 233698"/>
                <a:gd name="connsiteY8" fmla="*/ 81909 h 335627"/>
                <a:gd name="connsiteX9" fmla="*/ 128801 w 233698"/>
                <a:gd name="connsiteY9" fmla="*/ 67445 h 335627"/>
                <a:gd name="connsiteX10" fmla="*/ 76352 w 233698"/>
                <a:gd name="connsiteY10" fmla="*/ 96905 h 335627"/>
                <a:gd name="connsiteX11" fmla="*/ 233698 w 233698"/>
                <a:gd name="connsiteY11" fmla="*/ 231262 h 335627"/>
                <a:gd name="connsiteX12" fmla="*/ 106877 w 233698"/>
                <a:gd name="connsiteY12" fmla="*/ 335627 h 33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698" h="335627">
                  <a:moveTo>
                    <a:pt x="106877" y="335475"/>
                  </a:moveTo>
                  <a:cubicBezTo>
                    <a:pt x="66456" y="335475"/>
                    <a:pt x="29993" y="326493"/>
                    <a:pt x="0" y="311040"/>
                  </a:cubicBezTo>
                  <a:lnTo>
                    <a:pt x="9972" y="244660"/>
                  </a:lnTo>
                  <a:cubicBezTo>
                    <a:pt x="40421" y="260646"/>
                    <a:pt x="71860" y="269629"/>
                    <a:pt x="106344" y="269629"/>
                  </a:cubicBezTo>
                  <a:cubicBezTo>
                    <a:pt x="142807" y="269629"/>
                    <a:pt x="158793" y="257144"/>
                    <a:pt x="158793" y="236667"/>
                  </a:cubicBezTo>
                  <a:cubicBezTo>
                    <a:pt x="158793" y="188253"/>
                    <a:pt x="1446" y="212155"/>
                    <a:pt x="1446" y="100863"/>
                  </a:cubicBezTo>
                  <a:cubicBezTo>
                    <a:pt x="1446" y="45902"/>
                    <a:pt x="37909" y="0"/>
                    <a:pt x="125299" y="0"/>
                  </a:cubicBezTo>
                  <a:cubicBezTo>
                    <a:pt x="158793" y="0"/>
                    <a:pt x="195256" y="6014"/>
                    <a:pt x="222204" y="17508"/>
                  </a:cubicBezTo>
                  <a:lnTo>
                    <a:pt x="213221" y="81909"/>
                  </a:lnTo>
                  <a:cubicBezTo>
                    <a:pt x="183305" y="72926"/>
                    <a:pt x="155291" y="67445"/>
                    <a:pt x="128801" y="67445"/>
                  </a:cubicBezTo>
                  <a:cubicBezTo>
                    <a:pt x="87389" y="67445"/>
                    <a:pt x="76352" y="80919"/>
                    <a:pt x="76352" y="96905"/>
                  </a:cubicBezTo>
                  <a:cubicBezTo>
                    <a:pt x="76352" y="144863"/>
                    <a:pt x="233698" y="118905"/>
                    <a:pt x="233698" y="231262"/>
                  </a:cubicBezTo>
                  <a:cubicBezTo>
                    <a:pt x="233698" y="295206"/>
                    <a:pt x="186274" y="335627"/>
                    <a:pt x="106877" y="335627"/>
                  </a:cubicBezTo>
                </a:path>
              </a:pathLst>
            </a:custGeom>
            <a:solidFill>
              <a:schemeClr val="bg1"/>
            </a:solidFill>
            <a:ln w="7592" cap="flat">
              <a:noFill/>
              <a:prstDash val="solid"/>
              <a:miter/>
            </a:ln>
          </p:spPr>
          <p:txBody>
            <a:bodyPr rtlCol="0" anchor="ctr"/>
            <a:lstStyle/>
            <a:p>
              <a:endParaRPr lang="de-DE" dirty="0"/>
            </a:p>
          </p:txBody>
        </p:sp>
        <p:sp>
          <p:nvSpPr>
            <p:cNvPr id="19" name="Freihandform: Form 18">
              <a:extLst>
                <a:ext uri="{FF2B5EF4-FFF2-40B4-BE49-F238E27FC236}">
                  <a16:creationId xmlns:a16="http://schemas.microsoft.com/office/drawing/2014/main" id="{2BDA98AB-498B-0069-18D1-8003B44463A3}"/>
                </a:ext>
              </a:extLst>
            </p:cNvPr>
            <p:cNvSpPr/>
            <p:nvPr/>
          </p:nvSpPr>
          <p:spPr bwMode="black">
            <a:xfrm>
              <a:off x="9778955" y="5274990"/>
              <a:ext cx="304112" cy="335094"/>
            </a:xfrm>
            <a:custGeom>
              <a:avLst/>
              <a:gdLst>
                <a:gd name="connsiteX0" fmla="*/ 152323 w 304112"/>
                <a:gd name="connsiteY0" fmla="*/ 335094 h 335094"/>
                <a:gd name="connsiteX1" fmla="*/ 0 w 304112"/>
                <a:gd name="connsiteY1" fmla="*/ 167319 h 335094"/>
                <a:gd name="connsiteX2" fmla="*/ 152323 w 304112"/>
                <a:gd name="connsiteY2" fmla="*/ 0 h 335094"/>
                <a:gd name="connsiteX3" fmla="*/ 304112 w 304112"/>
                <a:gd name="connsiteY3" fmla="*/ 167319 h 335094"/>
                <a:gd name="connsiteX4" fmla="*/ 152323 w 304112"/>
                <a:gd name="connsiteY4" fmla="*/ 335094 h 335094"/>
                <a:gd name="connsiteX5" fmla="*/ 152323 w 304112"/>
                <a:gd name="connsiteY5" fmla="*/ 67902 h 335094"/>
                <a:gd name="connsiteX6" fmla="*/ 81909 w 304112"/>
                <a:gd name="connsiteY6" fmla="*/ 167319 h 335094"/>
                <a:gd name="connsiteX7" fmla="*/ 152323 w 304112"/>
                <a:gd name="connsiteY7" fmla="*/ 266660 h 335094"/>
                <a:gd name="connsiteX8" fmla="*/ 221747 w 304112"/>
                <a:gd name="connsiteY8" fmla="*/ 167319 h 335094"/>
                <a:gd name="connsiteX9" fmla="*/ 152323 w 304112"/>
                <a:gd name="connsiteY9" fmla="*/ 67902 h 335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112" h="335094">
                  <a:moveTo>
                    <a:pt x="152323" y="335094"/>
                  </a:moveTo>
                  <a:cubicBezTo>
                    <a:pt x="45446" y="335094"/>
                    <a:pt x="0" y="279677"/>
                    <a:pt x="0" y="167319"/>
                  </a:cubicBezTo>
                  <a:cubicBezTo>
                    <a:pt x="0" y="54961"/>
                    <a:pt x="44456" y="0"/>
                    <a:pt x="152323" y="0"/>
                  </a:cubicBezTo>
                  <a:cubicBezTo>
                    <a:pt x="260189" y="0"/>
                    <a:pt x="304112" y="54428"/>
                    <a:pt x="304112" y="167319"/>
                  </a:cubicBezTo>
                  <a:cubicBezTo>
                    <a:pt x="304112" y="280210"/>
                    <a:pt x="260189" y="335094"/>
                    <a:pt x="152323" y="335094"/>
                  </a:cubicBezTo>
                  <a:moveTo>
                    <a:pt x="152323" y="67902"/>
                  </a:moveTo>
                  <a:cubicBezTo>
                    <a:pt x="100407" y="67902"/>
                    <a:pt x="81909" y="88912"/>
                    <a:pt x="81909" y="167319"/>
                  </a:cubicBezTo>
                  <a:cubicBezTo>
                    <a:pt x="81909" y="245726"/>
                    <a:pt x="100407" y="266660"/>
                    <a:pt x="152323" y="266660"/>
                  </a:cubicBezTo>
                  <a:cubicBezTo>
                    <a:pt x="204239" y="266660"/>
                    <a:pt x="221747" y="244660"/>
                    <a:pt x="221747" y="167319"/>
                  </a:cubicBezTo>
                  <a:cubicBezTo>
                    <a:pt x="221747" y="89978"/>
                    <a:pt x="204771" y="67902"/>
                    <a:pt x="152323" y="67902"/>
                  </a:cubicBezTo>
                </a:path>
              </a:pathLst>
            </a:custGeom>
            <a:solidFill>
              <a:schemeClr val="bg1"/>
            </a:solidFill>
            <a:ln w="7592" cap="flat">
              <a:noFill/>
              <a:prstDash val="solid"/>
              <a:miter/>
            </a:ln>
          </p:spPr>
          <p:txBody>
            <a:bodyPr rtlCol="0" anchor="ctr"/>
            <a:lstStyle/>
            <a:p>
              <a:endParaRPr lang="de-DE" dirty="0"/>
            </a:p>
          </p:txBody>
        </p:sp>
        <p:sp>
          <p:nvSpPr>
            <p:cNvPr id="20" name="Freihandform: Form 19">
              <a:extLst>
                <a:ext uri="{FF2B5EF4-FFF2-40B4-BE49-F238E27FC236}">
                  <a16:creationId xmlns:a16="http://schemas.microsoft.com/office/drawing/2014/main" id="{57A178F5-CEB5-3259-2539-84DA5748DAE3}"/>
                </a:ext>
              </a:extLst>
            </p:cNvPr>
            <p:cNvSpPr/>
            <p:nvPr/>
          </p:nvSpPr>
          <p:spPr bwMode="black">
            <a:xfrm>
              <a:off x="8109877" y="5280242"/>
              <a:ext cx="439535" cy="64780"/>
            </a:xfrm>
            <a:custGeom>
              <a:avLst/>
              <a:gdLst>
                <a:gd name="connsiteX0" fmla="*/ 417917 w 439535"/>
                <a:gd name="connsiteY0" fmla="*/ 64781 h 64780"/>
                <a:gd name="connsiteX1" fmla="*/ 0 w 439535"/>
                <a:gd name="connsiteY1" fmla="*/ 64781 h 64780"/>
                <a:gd name="connsiteX2" fmla="*/ 21619 w 439535"/>
                <a:gd name="connsiteY2" fmla="*/ 0 h 64780"/>
                <a:gd name="connsiteX3" fmla="*/ 439536 w 439535"/>
                <a:gd name="connsiteY3" fmla="*/ 0 h 64780"/>
                <a:gd name="connsiteX4" fmla="*/ 417917 w 439535"/>
                <a:gd name="connsiteY4" fmla="*/ 64781 h 64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35" h="64780">
                  <a:moveTo>
                    <a:pt x="417917" y="64781"/>
                  </a:moveTo>
                  <a:lnTo>
                    <a:pt x="0" y="64781"/>
                  </a:lnTo>
                  <a:lnTo>
                    <a:pt x="21619" y="0"/>
                  </a:lnTo>
                  <a:lnTo>
                    <a:pt x="439536" y="0"/>
                  </a:lnTo>
                  <a:lnTo>
                    <a:pt x="417917" y="64781"/>
                  </a:lnTo>
                  <a:close/>
                </a:path>
              </a:pathLst>
            </a:custGeom>
            <a:solidFill>
              <a:schemeClr val="bg1"/>
            </a:solidFill>
            <a:ln w="7592" cap="flat">
              <a:noFill/>
              <a:prstDash val="solid"/>
              <a:miter/>
            </a:ln>
          </p:spPr>
          <p:txBody>
            <a:bodyPr rtlCol="0" anchor="ctr"/>
            <a:lstStyle/>
            <a:p>
              <a:endParaRPr lang="de-DE" dirty="0"/>
            </a:p>
          </p:txBody>
        </p:sp>
        <p:sp>
          <p:nvSpPr>
            <p:cNvPr id="21" name="Freihandform: Form 20">
              <a:extLst>
                <a:ext uri="{FF2B5EF4-FFF2-40B4-BE49-F238E27FC236}">
                  <a16:creationId xmlns:a16="http://schemas.microsoft.com/office/drawing/2014/main" id="{87C0E02D-96C2-D538-6A00-314B6B60DEFC}"/>
                </a:ext>
              </a:extLst>
            </p:cNvPr>
            <p:cNvSpPr/>
            <p:nvPr/>
          </p:nvSpPr>
          <p:spPr bwMode="black">
            <a:xfrm>
              <a:off x="8066182" y="5409728"/>
              <a:ext cx="439611" cy="64704"/>
            </a:xfrm>
            <a:custGeom>
              <a:avLst/>
              <a:gdLst>
                <a:gd name="connsiteX0" fmla="*/ 417993 w 439611"/>
                <a:gd name="connsiteY0" fmla="*/ 64705 h 64704"/>
                <a:gd name="connsiteX1" fmla="*/ 0 w 439611"/>
                <a:gd name="connsiteY1" fmla="*/ 64705 h 64704"/>
                <a:gd name="connsiteX2" fmla="*/ 21695 w 439611"/>
                <a:gd name="connsiteY2" fmla="*/ 0 h 64704"/>
                <a:gd name="connsiteX3" fmla="*/ 439612 w 439611"/>
                <a:gd name="connsiteY3" fmla="*/ 0 h 64704"/>
                <a:gd name="connsiteX4" fmla="*/ 417993 w 439611"/>
                <a:gd name="connsiteY4" fmla="*/ 64705 h 6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611" h="64704">
                  <a:moveTo>
                    <a:pt x="417993" y="64705"/>
                  </a:moveTo>
                  <a:lnTo>
                    <a:pt x="0" y="64705"/>
                  </a:lnTo>
                  <a:lnTo>
                    <a:pt x="21695" y="0"/>
                  </a:lnTo>
                  <a:lnTo>
                    <a:pt x="439612" y="0"/>
                  </a:lnTo>
                  <a:lnTo>
                    <a:pt x="417993" y="64705"/>
                  </a:lnTo>
                  <a:close/>
                </a:path>
              </a:pathLst>
            </a:custGeom>
            <a:solidFill>
              <a:schemeClr val="bg1"/>
            </a:solidFill>
            <a:ln w="7592" cap="flat">
              <a:noFill/>
              <a:prstDash val="solid"/>
              <a:miter/>
            </a:ln>
          </p:spPr>
          <p:txBody>
            <a:bodyPr rtlCol="0" anchor="ctr"/>
            <a:lstStyle/>
            <a:p>
              <a:endParaRPr lang="de-DE" dirty="0"/>
            </a:p>
          </p:txBody>
        </p:sp>
        <p:sp>
          <p:nvSpPr>
            <p:cNvPr id="22" name="Freihandform: Form 21">
              <a:extLst>
                <a:ext uri="{FF2B5EF4-FFF2-40B4-BE49-F238E27FC236}">
                  <a16:creationId xmlns:a16="http://schemas.microsoft.com/office/drawing/2014/main" id="{7522B0AD-F50D-8E55-A146-43F869FF21D9}"/>
                </a:ext>
              </a:extLst>
            </p:cNvPr>
            <p:cNvSpPr/>
            <p:nvPr/>
          </p:nvSpPr>
          <p:spPr bwMode="black">
            <a:xfrm>
              <a:off x="8022563" y="5539213"/>
              <a:ext cx="439611" cy="64704"/>
            </a:xfrm>
            <a:custGeom>
              <a:avLst/>
              <a:gdLst>
                <a:gd name="connsiteX0" fmla="*/ 417917 w 439611"/>
                <a:gd name="connsiteY0" fmla="*/ 64705 h 64704"/>
                <a:gd name="connsiteX1" fmla="*/ 0 w 439611"/>
                <a:gd name="connsiteY1" fmla="*/ 64705 h 64704"/>
                <a:gd name="connsiteX2" fmla="*/ 21695 w 439611"/>
                <a:gd name="connsiteY2" fmla="*/ 0 h 64704"/>
                <a:gd name="connsiteX3" fmla="*/ 439612 w 439611"/>
                <a:gd name="connsiteY3" fmla="*/ 0 h 64704"/>
                <a:gd name="connsiteX4" fmla="*/ 417917 w 439611"/>
                <a:gd name="connsiteY4" fmla="*/ 64705 h 6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611" h="64704">
                  <a:moveTo>
                    <a:pt x="417917" y="64705"/>
                  </a:moveTo>
                  <a:lnTo>
                    <a:pt x="0" y="64705"/>
                  </a:lnTo>
                  <a:lnTo>
                    <a:pt x="21695" y="0"/>
                  </a:lnTo>
                  <a:lnTo>
                    <a:pt x="439612" y="0"/>
                  </a:lnTo>
                  <a:lnTo>
                    <a:pt x="417917" y="64705"/>
                  </a:lnTo>
                  <a:close/>
                </a:path>
              </a:pathLst>
            </a:custGeom>
            <a:solidFill>
              <a:schemeClr val="bg1"/>
            </a:solidFill>
            <a:ln w="7592" cap="flat">
              <a:noFill/>
              <a:prstDash val="solid"/>
              <a:miter/>
            </a:ln>
          </p:spPr>
          <p:txBody>
            <a:bodyPr rtlCol="0" anchor="ctr"/>
            <a:lstStyle/>
            <a:p>
              <a:endParaRPr lang="de-DE" dirty="0"/>
            </a:p>
          </p:txBody>
        </p:sp>
      </p:grpSp>
      <p:sp>
        <p:nvSpPr>
          <p:cNvPr id="3" name="Textfeld 2">
            <a:extLst>
              <a:ext uri="{FF2B5EF4-FFF2-40B4-BE49-F238E27FC236}">
                <a16:creationId xmlns:a16="http://schemas.microsoft.com/office/drawing/2014/main" id="{4730C8E6-C12C-34F9-BB33-B1A08B0CFE36}"/>
              </a:ext>
            </a:extLst>
          </p:cNvPr>
          <p:cNvSpPr txBox="1"/>
          <p:nvPr userDrawn="1"/>
        </p:nvSpPr>
        <p:spPr bwMode="invGray">
          <a:xfrm>
            <a:off x="695325" y="2996952"/>
            <a:ext cx="10801350" cy="864096"/>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300"/>
              </a:spcBef>
              <a:spcAft>
                <a:spcPts val="300"/>
              </a:spcAft>
              <a:buClrTx/>
              <a:buSzTx/>
              <a:buFontTx/>
              <a:buNone/>
              <a:tabLst/>
            </a:pPr>
            <a:r>
              <a:rPr kumimoji="0" lang="de-DE" sz="9600" b="0" i="0" u="none" strike="noStrike" kern="1200" cap="none" spc="40" normalizeH="0" baseline="0" noProof="0" dirty="0">
                <a:ln>
                  <a:noFill/>
                </a:ln>
                <a:solidFill>
                  <a:schemeClr val="bg1"/>
                </a:solidFill>
                <a:effectLst/>
                <a:uLnTx/>
                <a:uFillTx/>
                <a:latin typeface="+mj-lt"/>
                <a:ea typeface="+mn-ea"/>
                <a:cs typeface="+mn-cs"/>
              </a:rPr>
              <a:t>Inhalte</a:t>
            </a:r>
          </a:p>
        </p:txBody>
      </p:sp>
    </p:spTree>
    <p:extLst>
      <p:ext uri="{BB962C8B-B14F-4D97-AF65-F5344CB8AC3E}">
        <p14:creationId xmlns:p14="http://schemas.microsoft.com/office/powerpoint/2010/main" val="129340792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image" Target="../media/image4.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2.sv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19A1460-68DE-A40E-FE43-DF0F9CC3CCB7}"/>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bwMode="black">
          <a:xfrm>
            <a:off x="10613601" y="553447"/>
            <a:ext cx="918000" cy="209082"/>
          </a:xfrm>
          <a:prstGeom prst="rect">
            <a:avLst/>
          </a:prstGeom>
        </p:spPr>
      </p:pic>
      <p:sp>
        <p:nvSpPr>
          <p:cNvPr id="2" name="Titelplatzhalter 1">
            <a:extLst>
              <a:ext uri="{FF2B5EF4-FFF2-40B4-BE49-F238E27FC236}">
                <a16:creationId xmlns:a16="http://schemas.microsoft.com/office/drawing/2014/main" id="{B2522496-07C9-F3C1-FF06-976309744392}"/>
              </a:ext>
            </a:extLst>
          </p:cNvPr>
          <p:cNvSpPr>
            <a:spLocks noGrp="1"/>
          </p:cNvSpPr>
          <p:nvPr>
            <p:ph type="title"/>
          </p:nvPr>
        </p:nvSpPr>
        <p:spPr bwMode="gray">
          <a:xfrm>
            <a:off x="695325" y="477596"/>
            <a:ext cx="9744675" cy="324000"/>
          </a:xfrm>
          <a:prstGeom prst="rect">
            <a:avLst/>
          </a:prstGeom>
        </p:spPr>
        <p:txBody>
          <a:bodyPr vert="horz" lIns="0" tIns="0" rIns="0" bIns="0" rtlCol="0" anchor="t" anchorCtr="0">
            <a:noAutofit/>
          </a:bodyPr>
          <a:lstStyle/>
          <a:p>
            <a:pPr lvl="0"/>
            <a:r>
              <a:rPr lang="de-DE" dirty="0"/>
              <a:t>Mastertitelformat bearbeiten</a:t>
            </a:r>
          </a:p>
        </p:txBody>
      </p:sp>
      <p:sp>
        <p:nvSpPr>
          <p:cNvPr id="4" name="Datumsplatzhalter 3">
            <a:extLst>
              <a:ext uri="{FF2B5EF4-FFF2-40B4-BE49-F238E27FC236}">
                <a16:creationId xmlns:a16="http://schemas.microsoft.com/office/drawing/2014/main" id="{B9CAB9B3-6B51-38BD-33A5-AB1422C46098}"/>
              </a:ext>
            </a:extLst>
          </p:cNvPr>
          <p:cNvSpPr>
            <a:spLocks noGrp="1"/>
          </p:cNvSpPr>
          <p:nvPr>
            <p:ph type="dt" sz="half" idx="2"/>
          </p:nvPr>
        </p:nvSpPr>
        <p:spPr bwMode="gray">
          <a:xfrm>
            <a:off x="695325" y="6498000"/>
            <a:ext cx="2743200" cy="180000"/>
          </a:xfrm>
          <a:prstGeom prst="rect">
            <a:avLst/>
          </a:prstGeom>
        </p:spPr>
        <p:txBody>
          <a:bodyPr vert="horz" lIns="0" tIns="0" rIns="0" bIns="0" rtlCol="0" anchor="t" anchorCtr="0"/>
          <a:lstStyle>
            <a:lvl1pPr algn="l">
              <a:lnSpc>
                <a:spcPct val="90000"/>
              </a:lnSpc>
              <a:defRPr sz="1200">
                <a:solidFill>
                  <a:schemeClr val="bg2">
                    <a:lumMod val="50000"/>
                  </a:schemeClr>
                </a:solidFill>
              </a:defRPr>
            </a:lvl1pPr>
          </a:lstStyle>
          <a:p>
            <a:fld id="{9E2B9F34-56FA-484F-BF35-683BE469C0E3}" type="datetime1">
              <a:rPr lang="de-DE" smtClean="0"/>
              <a:pPr/>
              <a:t>30.11.2024</a:t>
            </a:fld>
            <a:endParaRPr lang="de-DE" dirty="0"/>
          </a:p>
        </p:txBody>
      </p:sp>
      <p:sp>
        <p:nvSpPr>
          <p:cNvPr id="5" name="Fußzeilenplatzhalter 4">
            <a:extLst>
              <a:ext uri="{FF2B5EF4-FFF2-40B4-BE49-F238E27FC236}">
                <a16:creationId xmlns:a16="http://schemas.microsoft.com/office/drawing/2014/main" id="{F6A2E542-4111-C4BA-1DB8-B5C5195F39B0}"/>
              </a:ext>
            </a:extLst>
          </p:cNvPr>
          <p:cNvSpPr>
            <a:spLocks noGrp="1"/>
          </p:cNvSpPr>
          <p:nvPr>
            <p:ph type="ftr" sz="quarter" idx="3"/>
          </p:nvPr>
        </p:nvSpPr>
        <p:spPr bwMode="gray">
          <a:xfrm>
            <a:off x="4296676" y="6498000"/>
            <a:ext cx="7200000" cy="180000"/>
          </a:xfrm>
          <a:prstGeom prst="rect">
            <a:avLst/>
          </a:prstGeom>
        </p:spPr>
        <p:txBody>
          <a:bodyPr vert="horz" lIns="0" tIns="0" rIns="0" bIns="0" rtlCol="0" anchor="t" anchorCtr="0"/>
          <a:lstStyle>
            <a:lvl1pPr algn="r">
              <a:lnSpc>
                <a:spcPct val="90000"/>
              </a:lnSpc>
              <a:defRPr sz="1200">
                <a:solidFill>
                  <a:schemeClr val="bg2">
                    <a:lumMod val="50000"/>
                  </a:schemeClr>
                </a:solidFill>
              </a:defRPr>
            </a:lvl1pPr>
          </a:lstStyle>
          <a:p>
            <a:r>
              <a:rPr lang="de-DE" dirty="0"/>
              <a:t>Unternehmenspräsentation</a:t>
            </a:r>
          </a:p>
        </p:txBody>
      </p:sp>
      <p:sp>
        <p:nvSpPr>
          <p:cNvPr id="6" name="Foliennummernplatzhalter 5">
            <a:extLst>
              <a:ext uri="{FF2B5EF4-FFF2-40B4-BE49-F238E27FC236}">
                <a16:creationId xmlns:a16="http://schemas.microsoft.com/office/drawing/2014/main" id="{1DDAB289-6D23-B1DC-237F-C30DC7EBA660}"/>
              </a:ext>
            </a:extLst>
          </p:cNvPr>
          <p:cNvSpPr>
            <a:spLocks noGrp="1"/>
          </p:cNvSpPr>
          <p:nvPr>
            <p:ph type="sldNum" sz="quarter" idx="4"/>
          </p:nvPr>
        </p:nvSpPr>
        <p:spPr bwMode="gray">
          <a:xfrm>
            <a:off x="11640616" y="6498000"/>
            <a:ext cx="432000" cy="180000"/>
          </a:xfrm>
          <a:prstGeom prst="rect">
            <a:avLst/>
          </a:prstGeom>
        </p:spPr>
        <p:txBody>
          <a:bodyPr vert="horz" lIns="0" tIns="0" rIns="0" bIns="0" rtlCol="0" anchor="t" anchorCtr="0"/>
          <a:lstStyle>
            <a:lvl1pPr algn="r">
              <a:lnSpc>
                <a:spcPct val="90000"/>
              </a:lnSpc>
              <a:defRPr sz="1200">
                <a:solidFill>
                  <a:schemeClr val="bg2">
                    <a:lumMod val="50000"/>
                  </a:schemeClr>
                </a:solidFill>
              </a:defRPr>
            </a:lvl1pPr>
          </a:lstStyle>
          <a:p>
            <a:fld id="{1A2CFED3-8F6A-4617-95E5-25D21BE72BEB}" type="slidenum">
              <a:rPr lang="de-DE" smtClean="0"/>
              <a:pPr/>
              <a:t>‹#›</a:t>
            </a:fld>
            <a:endParaRPr lang="de-DE" dirty="0"/>
          </a:p>
        </p:txBody>
      </p:sp>
      <p:sp>
        <p:nvSpPr>
          <p:cNvPr id="9" name="Textplatzhalter 8">
            <a:extLst>
              <a:ext uri="{FF2B5EF4-FFF2-40B4-BE49-F238E27FC236}">
                <a16:creationId xmlns:a16="http://schemas.microsoft.com/office/drawing/2014/main" id="{64CA6163-C3DF-94F4-D4F3-D1F06DCE474F}"/>
              </a:ext>
            </a:extLst>
          </p:cNvPr>
          <p:cNvSpPr>
            <a:spLocks noGrp="1"/>
          </p:cNvSpPr>
          <p:nvPr>
            <p:ph type="body" idx="1"/>
          </p:nvPr>
        </p:nvSpPr>
        <p:spPr bwMode="gray">
          <a:xfrm>
            <a:off x="695326" y="1125537"/>
            <a:ext cx="10801350" cy="5185455"/>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buFontTx/>
            </a:pPr>
            <a:r>
              <a:rPr lang="de-DE" dirty="0"/>
              <a:t>Sechste Ebene</a:t>
            </a:r>
          </a:p>
          <a:p>
            <a:pPr lvl="6"/>
            <a:r>
              <a:rPr lang="de-DE" dirty="0"/>
              <a:t>Siebte Ebene</a:t>
            </a:r>
          </a:p>
          <a:p>
            <a:pPr lvl="7">
              <a:tabLst>
                <a:tab pos="361950" algn="l"/>
              </a:tabLst>
            </a:pPr>
            <a:r>
              <a:rPr lang="de-DE" dirty="0"/>
              <a:t>Achte Ebene</a:t>
            </a:r>
          </a:p>
          <a:p>
            <a:pPr lvl="8"/>
            <a:r>
              <a:rPr lang="de-DE" dirty="0"/>
              <a:t>Neunte Ebene</a:t>
            </a:r>
          </a:p>
        </p:txBody>
      </p:sp>
    </p:spTree>
    <p:extLst>
      <p:ext uri="{BB962C8B-B14F-4D97-AF65-F5344CB8AC3E}">
        <p14:creationId xmlns:p14="http://schemas.microsoft.com/office/powerpoint/2010/main" val="3126601507"/>
      </p:ext>
    </p:extLst>
  </p:cSld>
  <p:clrMap bg1="lt1" tx1="dk1" bg2="lt2" tx2="dk2" accent1="accent1" accent2="accent2" accent3="accent3" accent4="accent4" accent5="accent5" accent6="accent6" hlink="hlink" folHlink="folHlink"/>
  <p:sldLayoutIdLst>
    <p:sldLayoutId id="2147483788" r:id="rId1"/>
    <p:sldLayoutId id="2147483785" r:id="rId2"/>
    <p:sldLayoutId id="2147483795" r:id="rId3"/>
    <p:sldLayoutId id="2147483797" r:id="rId4"/>
    <p:sldLayoutId id="2147483760" r:id="rId5"/>
    <p:sldLayoutId id="2147483743" r:id="rId6"/>
    <p:sldLayoutId id="2147483774" r:id="rId7"/>
    <p:sldLayoutId id="2147483775" r:id="rId8"/>
    <p:sldLayoutId id="2147483756" r:id="rId9"/>
    <p:sldLayoutId id="2147483730" r:id="rId10"/>
    <p:sldLayoutId id="2147483723" r:id="rId11"/>
    <p:sldLayoutId id="2147483724" r:id="rId12"/>
    <p:sldLayoutId id="2147483725" r:id="rId13"/>
    <p:sldLayoutId id="2147483766" r:id="rId14"/>
    <p:sldLayoutId id="2147483767" r:id="rId15"/>
    <p:sldLayoutId id="2147483677" r:id="rId16"/>
    <p:sldLayoutId id="2147483729" r:id="rId17"/>
    <p:sldLayoutId id="2147483727" r:id="rId18"/>
    <p:sldLayoutId id="2147483726" r:id="rId19"/>
    <p:sldLayoutId id="2147483734" r:id="rId20"/>
    <p:sldLayoutId id="2147483733" r:id="rId21"/>
    <p:sldLayoutId id="2147483721" r:id="rId22"/>
    <p:sldLayoutId id="2147483722" r:id="rId23"/>
    <p:sldLayoutId id="2147483755" r:id="rId24"/>
    <p:sldLayoutId id="2147483703" r:id="rId25"/>
    <p:sldLayoutId id="2147483762" r:id="rId26"/>
    <p:sldLayoutId id="2147483704" r:id="rId27"/>
    <p:sldLayoutId id="2147483667" r:id="rId28"/>
    <p:sldLayoutId id="2147483702" r:id="rId29"/>
    <p:sldLayoutId id="2147483773" r:id="rId30"/>
    <p:sldLayoutId id="2147483706" r:id="rId31"/>
    <p:sldLayoutId id="2147483764" r:id="rId32"/>
    <p:sldLayoutId id="2147483694" r:id="rId33"/>
    <p:sldLayoutId id="2147483732" r:id="rId34"/>
    <p:sldLayoutId id="2147483744" r:id="rId35"/>
    <p:sldLayoutId id="2147483759" r:id="rId36"/>
    <p:sldLayoutId id="2147483748" r:id="rId37"/>
    <p:sldLayoutId id="2147483749" r:id="rId38"/>
    <p:sldLayoutId id="2147483757" r:id="rId39"/>
    <p:sldLayoutId id="2147483691" r:id="rId40"/>
    <p:sldLayoutId id="2147483716" r:id="rId41"/>
    <p:sldLayoutId id="2147483717" r:id="rId42"/>
    <p:sldLayoutId id="2147483689" r:id="rId43"/>
    <p:sldLayoutId id="2147483758" r:id="rId44"/>
    <p:sldLayoutId id="2147483708" r:id="rId45"/>
    <p:sldLayoutId id="2147483761" r:id="rId46"/>
    <p:sldLayoutId id="2147483738" r:id="rId47"/>
    <p:sldLayoutId id="2147483739" r:id="rId48"/>
    <p:sldLayoutId id="2147483735" r:id="rId49"/>
    <p:sldLayoutId id="2147483768" r:id="rId50"/>
    <p:sldLayoutId id="2147483769" r:id="rId51"/>
    <p:sldLayoutId id="2147483770" r:id="rId52"/>
    <p:sldLayoutId id="2147483772" r:id="rId53"/>
    <p:sldLayoutId id="2147483771" r:id="rId54"/>
    <p:sldLayoutId id="2147483778" r:id="rId55"/>
    <p:sldLayoutId id="2147483779" r:id="rId56"/>
    <p:sldLayoutId id="2147483780" r:id="rId57"/>
    <p:sldLayoutId id="2147483781" r:id="rId58"/>
    <p:sldLayoutId id="2147483793" r:id="rId59"/>
    <p:sldLayoutId id="2147483789" r:id="rId60"/>
    <p:sldLayoutId id="2147483790" r:id="rId61"/>
    <p:sldLayoutId id="2147483798" r:id="rId62"/>
    <p:sldLayoutId id="2147483799" r:id="rId63"/>
  </p:sldLayoutIdLst>
  <p:hf hdr="0"/>
  <p:txStyles>
    <p:titleStyle>
      <a:lvl1pPr algn="l" defTabSz="914400" rtl="0" eaLnBrk="1" latinLnBrk="0" hangingPunct="1">
        <a:lnSpc>
          <a:spcPct val="80000"/>
        </a:lnSpc>
        <a:spcBef>
          <a:spcPct val="0"/>
        </a:spcBef>
        <a:buNone/>
        <a:defRPr lang="de-DE" sz="3000" kern="1200" cap="none" spc="60" baseline="0" dirty="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67">
            <a:extLst>
              <a:ext uri="{96DAC541-7B7A-43D3-8B79-37D633B846F1}">
                <asvg:svgBlip xmlns:asvg="http://schemas.microsoft.com/office/drawing/2016/SVG/main" r:embed="rId68"/>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438">
          <p15:clr>
            <a:srgbClr val="F26B43"/>
          </p15:clr>
        </p15:guide>
        <p15:guide id="3" pos="7242">
          <p15:clr>
            <a:srgbClr val="F26B43"/>
          </p15:clr>
        </p15:guide>
        <p15:guide id="4" orient="horz" pos="527" userDrawn="1">
          <p15:clr>
            <a:srgbClr val="F26B43"/>
          </p15:clr>
        </p15:guide>
        <p15:guide id="5" orient="horz" pos="3974">
          <p15:clr>
            <a:srgbClr val="F26B43"/>
          </p15:clr>
        </p15:guide>
        <p15:guide id="8" orient="horz" pos="2387">
          <p15:clr>
            <a:srgbClr val="F26B43"/>
          </p15:clr>
        </p15:guide>
        <p15:guide id="10"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43.png"/><Relationship Id="rId4" Type="http://schemas.openxmlformats.org/officeDocument/2006/relationships/image" Target="../media/image4.sv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44.png"/><Relationship Id="rId4" Type="http://schemas.openxmlformats.org/officeDocument/2006/relationships/image" Target="../media/image4.svg"/></Relationships>
</file>

<file path=ppt/slides/_rels/slide12.xml.rels><?xml version="1.0" encoding="UTF-8" standalone="yes"?>
<Relationships xmlns="http://schemas.openxmlformats.org/package/2006/relationships"><Relationship Id="rId3" Type="http://schemas.openxmlformats.org/officeDocument/2006/relationships/hyperlink" Target="https://dotnet.microsoft.com/en-us/learn/csharp" TargetMode="External"/><Relationship Id="rId2" Type="http://schemas.openxmlformats.org/officeDocument/2006/relationships/hyperlink" Target="https://unity.com/learn" TargetMode="External"/><Relationship Id="rId1" Type="http://schemas.openxmlformats.org/officeDocument/2006/relationships/slideLayout" Target="../slideLayouts/slideLayout22.xml"/><Relationship Id="rId6" Type="http://schemas.openxmlformats.org/officeDocument/2006/relationships/image" Target="../media/image45.png"/><Relationship Id="rId5" Type="http://schemas.openxmlformats.org/officeDocument/2006/relationships/hyperlink" Target="https://unity.com/products" TargetMode="External"/><Relationship Id="rId4" Type="http://schemas.openxmlformats.org/officeDocument/2006/relationships/hyperlink" Target="https://assetstore.unity.com/"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2.xml"/><Relationship Id="rId1" Type="http://schemas.openxmlformats.org/officeDocument/2006/relationships/tags" Target="../tags/tag1.xml"/><Relationship Id="rId6" Type="http://schemas.openxmlformats.org/officeDocument/2006/relationships/image" Target="../media/image30.jpg"/><Relationship Id="rId5" Type="http://schemas.openxmlformats.org/officeDocument/2006/relationships/image" Target="../media/image2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3.xml"/><Relationship Id="rId1" Type="http://schemas.openxmlformats.org/officeDocument/2006/relationships/tags" Target="../tags/tag2.xml"/><Relationship Id="rId5" Type="http://schemas.openxmlformats.org/officeDocument/2006/relationships/image" Target="../media/image29.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3.png"/><Relationship Id="rId7" Type="http://schemas.openxmlformats.org/officeDocument/2006/relationships/image" Target="../media/image35.jp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4.svg"/><Relationship Id="rId10" Type="http://schemas.openxmlformats.org/officeDocument/2006/relationships/image" Target="../media/image38.png"/><Relationship Id="rId4" Type="http://schemas.openxmlformats.org/officeDocument/2006/relationships/image" Target="../media/image3.png"/><Relationship Id="rId9" Type="http://schemas.openxmlformats.org/officeDocument/2006/relationships/image" Target="../media/image37.jpe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40.png"/><Relationship Id="rId4" Type="http://schemas.openxmlformats.org/officeDocument/2006/relationships/image" Target="../media/image4.sv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41.png"/><Relationship Id="rId4" Type="http://schemas.openxmlformats.org/officeDocument/2006/relationships/image" Target="../media/image4.sv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42.png"/><Relationship Id="rId4" Type="http://schemas.openxmlformats.org/officeDocument/2006/relationships/image" Target="../media/image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E1EF3F-3848-5B02-52B2-C5B3D3688800}"/>
            </a:ext>
          </a:extLst>
        </p:cNvPr>
        <p:cNvGrpSpPr/>
        <p:nvPr/>
      </p:nvGrpSpPr>
      <p:grpSpPr>
        <a:xfrm>
          <a:off x="0" y="0"/>
          <a:ext cx="0" cy="0"/>
          <a:chOff x="0" y="0"/>
          <a:chExt cx="0" cy="0"/>
        </a:xfrm>
      </p:grpSpPr>
      <p:sp>
        <p:nvSpPr>
          <p:cNvPr id="5" name="Untertitel 4">
            <a:extLst>
              <a:ext uri="{FF2B5EF4-FFF2-40B4-BE49-F238E27FC236}">
                <a16:creationId xmlns:a16="http://schemas.microsoft.com/office/drawing/2014/main" id="{3B236E5C-80BB-6BB9-76C7-8AD7DD8AF3EC}"/>
              </a:ext>
            </a:extLst>
          </p:cNvPr>
          <p:cNvSpPr>
            <a:spLocks noGrp="1"/>
          </p:cNvSpPr>
          <p:nvPr>
            <p:ph type="subTitle" idx="1"/>
          </p:nvPr>
        </p:nvSpPr>
        <p:spPr/>
        <p:txBody>
          <a:bodyPr/>
          <a:lstStyle/>
          <a:p>
            <a:r>
              <a:rPr lang="de-DE" dirty="0"/>
              <a:t>Software Engineering  |  Digital Transformation</a:t>
            </a:r>
          </a:p>
        </p:txBody>
      </p:sp>
      <p:sp>
        <p:nvSpPr>
          <p:cNvPr id="6" name="Textplatzhalter 5">
            <a:extLst>
              <a:ext uri="{FF2B5EF4-FFF2-40B4-BE49-F238E27FC236}">
                <a16:creationId xmlns:a16="http://schemas.microsoft.com/office/drawing/2014/main" id="{CEDB76B7-734C-304C-D4D1-2AD4D635F8BB}"/>
              </a:ext>
            </a:extLst>
          </p:cNvPr>
          <p:cNvSpPr>
            <a:spLocks noGrp="1"/>
          </p:cNvSpPr>
          <p:nvPr>
            <p:ph type="body" idx="13"/>
          </p:nvPr>
        </p:nvSpPr>
        <p:spPr/>
        <p:txBody>
          <a:bodyPr/>
          <a:lstStyle/>
          <a:p>
            <a:r>
              <a:rPr lang="de-DE" dirty="0"/>
              <a:t>Neil Thompson |  November 2024</a:t>
            </a:r>
          </a:p>
        </p:txBody>
      </p:sp>
      <p:sp>
        <p:nvSpPr>
          <p:cNvPr id="7" name="Textplatzhalter 6">
            <a:extLst>
              <a:ext uri="{FF2B5EF4-FFF2-40B4-BE49-F238E27FC236}">
                <a16:creationId xmlns:a16="http://schemas.microsoft.com/office/drawing/2014/main" id="{9ABB7F73-7427-F5C7-B66F-01B279754304}"/>
              </a:ext>
            </a:extLst>
          </p:cNvPr>
          <p:cNvSpPr>
            <a:spLocks noGrp="1"/>
          </p:cNvSpPr>
          <p:nvPr>
            <p:ph type="body" sz="quarter" idx="14"/>
          </p:nvPr>
        </p:nvSpPr>
        <p:spPr/>
        <p: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de-DE" sz="4000" b="0" i="0" u="none" strike="noStrike" kern="1200" cap="none" spc="40" normalizeH="0" baseline="0" noProof="0" dirty="0">
                <a:ln>
                  <a:noFill/>
                </a:ln>
                <a:solidFill>
                  <a:srgbClr val="FFFFFF"/>
                </a:solidFill>
                <a:effectLst/>
                <a:uLnTx/>
                <a:uFillTx/>
                <a:latin typeface="Calibri bold"/>
                <a:ea typeface="+mn-ea"/>
                <a:cs typeface="+mn-cs"/>
              </a:rPr>
              <a:t>Unlocking Game Developmen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000" b="0" i="0" u="none" strike="noStrike" kern="1200" cap="none" spc="40" normalizeH="0" baseline="0" noProof="0" dirty="0">
                <a:ln>
                  <a:noFill/>
                </a:ln>
                <a:solidFill>
                  <a:srgbClr val="2DFA87"/>
                </a:solidFill>
                <a:effectLst/>
                <a:uLnTx/>
                <a:uFillTx/>
                <a:latin typeface="Calibri bold"/>
                <a:ea typeface="+mn-ea"/>
                <a:cs typeface="+mn-cs"/>
              </a:rPr>
              <a:t>A Beginner's Journey with Unity and .NET</a:t>
            </a:r>
            <a:endParaRPr kumimoji="0" lang="de-DE" sz="4000" b="0" i="0" u="none" strike="noStrike" kern="1200" cap="none" spc="40" normalizeH="0" baseline="0" noProof="0" dirty="0">
              <a:ln>
                <a:noFill/>
              </a:ln>
              <a:solidFill>
                <a:srgbClr val="2DFA87"/>
              </a:solidFill>
              <a:effectLst/>
              <a:uLnTx/>
              <a:uFillTx/>
              <a:latin typeface="Calibri bold"/>
              <a:ea typeface="+mn-ea"/>
              <a:cs typeface="+mn-cs"/>
            </a:endParaRPr>
          </a:p>
        </p:txBody>
      </p:sp>
      <p:pic>
        <p:nvPicPr>
          <p:cNvPr id="9" name="Bildplatzhalter 11">
            <a:extLst>
              <a:ext uri="{FF2B5EF4-FFF2-40B4-BE49-F238E27FC236}">
                <a16:creationId xmlns:a16="http://schemas.microsoft.com/office/drawing/2014/main" id="{C89E0EB9-A236-40D3-06A3-3CCF644D1FF7}"/>
              </a:ext>
            </a:extLst>
          </p:cNvPr>
          <p:cNvPicPr>
            <a:picLocks noGrp="1" noChangeAspect="1"/>
          </p:cNvPicPr>
          <p:nvPr>
            <p:ph type="pic" sz="quarter" idx="16"/>
          </p:nvPr>
        </p:nvPicPr>
        <p:blipFill>
          <a:blip r:embed="rId2"/>
          <a:srcRect t="16760" b="16760"/>
          <a:stretch/>
        </p:blipFill>
        <p:spPr>
          <a:xfrm>
            <a:off x="7175323" y="1752600"/>
            <a:ext cx="4814121" cy="3200400"/>
          </a:xfrm>
        </p:spPr>
      </p:pic>
    </p:spTree>
    <p:extLst>
      <p:ext uri="{BB962C8B-B14F-4D97-AF65-F5344CB8AC3E}">
        <p14:creationId xmlns:p14="http://schemas.microsoft.com/office/powerpoint/2010/main" val="26841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44700-F9D3-A5F7-B88F-3319D688C35D}"/>
            </a:ext>
          </a:extLst>
        </p:cNvPr>
        <p:cNvGrpSpPr/>
        <p:nvPr/>
      </p:nvGrpSpPr>
      <p:grpSpPr>
        <a:xfrm>
          <a:off x="0" y="0"/>
          <a:ext cx="0" cy="0"/>
          <a:chOff x="0" y="0"/>
          <a:chExt cx="0" cy="0"/>
        </a:xfrm>
      </p:grpSpPr>
      <p:sp>
        <p:nvSpPr>
          <p:cNvPr id="20" name="Text Placeholder 19">
            <a:extLst>
              <a:ext uri="{FF2B5EF4-FFF2-40B4-BE49-F238E27FC236}">
                <a16:creationId xmlns:a16="http://schemas.microsoft.com/office/drawing/2014/main" id="{43EF1901-808A-F460-2401-D2D2B837CF8A}"/>
              </a:ext>
            </a:extLst>
          </p:cNvPr>
          <p:cNvSpPr>
            <a:spLocks noGrp="1"/>
          </p:cNvSpPr>
          <p:nvPr>
            <p:ph type="body" sz="quarter" idx="23"/>
          </p:nvPr>
        </p:nvSpPr>
        <p:spPr>
          <a:xfrm>
            <a:off x="514800" y="1376914"/>
            <a:ext cx="2700000" cy="680486"/>
          </a:xfrm>
          <a:solidFill>
            <a:srgbClr val="46FFB1"/>
          </a:solidFill>
        </p:spPr>
        <p:txBody>
          <a:bodyPr/>
          <a:lstStyle/>
          <a:p>
            <a:r>
              <a:rPr lang="en-US" b="1" dirty="0" err="1"/>
              <a:t>GameObject</a:t>
            </a:r>
            <a:r>
              <a:rPr lang="en-US" dirty="0"/>
              <a:t> </a:t>
            </a:r>
          </a:p>
        </p:txBody>
      </p:sp>
      <p:sp>
        <p:nvSpPr>
          <p:cNvPr id="19" name="Content Placeholder 18">
            <a:extLst>
              <a:ext uri="{FF2B5EF4-FFF2-40B4-BE49-F238E27FC236}">
                <a16:creationId xmlns:a16="http://schemas.microsoft.com/office/drawing/2014/main" id="{5160B3A6-DDB3-52AE-165C-A2FB07F34720}"/>
              </a:ext>
            </a:extLst>
          </p:cNvPr>
          <p:cNvSpPr>
            <a:spLocks noGrp="1"/>
          </p:cNvSpPr>
          <p:nvPr>
            <p:ph sz="quarter" idx="14"/>
          </p:nvPr>
        </p:nvSpPr>
        <p:spPr>
          <a:xfrm>
            <a:off x="3575050" y="1374314"/>
            <a:ext cx="4273550" cy="4464052"/>
          </a:xfrm>
        </p:spPr>
        <p:txBody>
          <a:bodyPr/>
          <a:lstStyle/>
          <a:p>
            <a:r>
              <a:rPr lang="en-US" b="1" dirty="0"/>
              <a:t>Prefabs</a:t>
            </a:r>
            <a:r>
              <a:rPr lang="en-US" dirty="0"/>
              <a:t>: A Prefab is a reusable template for </a:t>
            </a:r>
            <a:r>
              <a:rPr lang="en-US" dirty="0" err="1"/>
              <a:t>GameObjects</a:t>
            </a:r>
            <a:r>
              <a:rPr lang="en-US" dirty="0"/>
              <a:t>. </a:t>
            </a:r>
          </a:p>
          <a:p>
            <a:r>
              <a:rPr lang="en-US" dirty="0"/>
              <a:t>For example, if you want to create multiple identical enemies in a game, you can create one Prefab of an enemy, then make copies. </a:t>
            </a:r>
          </a:p>
          <a:p>
            <a:r>
              <a:rPr lang="en-US" dirty="0"/>
              <a:t>Any changes to the Prefab will apply to all copies.</a:t>
            </a:r>
          </a:p>
        </p:txBody>
      </p:sp>
      <p:sp>
        <p:nvSpPr>
          <p:cNvPr id="6" name="Slide Number Placeholder 5">
            <a:extLst>
              <a:ext uri="{FF2B5EF4-FFF2-40B4-BE49-F238E27FC236}">
                <a16:creationId xmlns:a16="http://schemas.microsoft.com/office/drawing/2014/main" id="{953B4C95-3F48-7ADB-F250-504F556105FC}"/>
              </a:ext>
            </a:extLst>
          </p:cNvPr>
          <p:cNvSpPr>
            <a:spLocks noGrp="1"/>
          </p:cNvSpPr>
          <p:nvPr>
            <p:ph type="sldNum" sz="quarter" idx="12"/>
          </p:nvPr>
        </p:nvSpPr>
        <p:spPr/>
        <p:txBody>
          <a:bodyPr/>
          <a:lstStyle/>
          <a:p>
            <a:fld id="{898D279D-9EEE-4375-932F-276CB614E9A4}" type="slidenum">
              <a:rPr lang="de-DE" smtClean="0"/>
              <a:t>10</a:t>
            </a:fld>
            <a:endParaRPr lang="de-DE" dirty="0"/>
          </a:p>
        </p:txBody>
      </p:sp>
      <p:sp>
        <p:nvSpPr>
          <p:cNvPr id="18" name="Title 17">
            <a:extLst>
              <a:ext uri="{FF2B5EF4-FFF2-40B4-BE49-F238E27FC236}">
                <a16:creationId xmlns:a16="http://schemas.microsoft.com/office/drawing/2014/main" id="{76AA16B9-E7DE-C0ED-803C-1A55CD8E76C5}"/>
              </a:ext>
            </a:extLst>
          </p:cNvPr>
          <p:cNvSpPr>
            <a:spLocks noGrp="1"/>
          </p:cNvSpPr>
          <p:nvPr>
            <p:ph type="title"/>
          </p:nvPr>
        </p:nvSpPr>
        <p:spPr/>
        <p:txBody>
          <a:bodyPr/>
          <a:lstStyle/>
          <a:p>
            <a:r>
              <a:rPr lang="en-US" sz="3200" dirty="0"/>
              <a:t>Part 2: Unity Basics and Core Concepts</a:t>
            </a:r>
            <a:br>
              <a:rPr lang="en-US" sz="2800" dirty="0"/>
            </a:br>
            <a:endParaRPr lang="en-US" dirty="0"/>
          </a:p>
        </p:txBody>
      </p:sp>
      <p:sp>
        <p:nvSpPr>
          <p:cNvPr id="21" name="Text Placeholder 19">
            <a:extLst>
              <a:ext uri="{FF2B5EF4-FFF2-40B4-BE49-F238E27FC236}">
                <a16:creationId xmlns:a16="http://schemas.microsoft.com/office/drawing/2014/main" id="{8779426E-9945-F62A-0E02-2B24BDCAEC4D}"/>
              </a:ext>
            </a:extLst>
          </p:cNvPr>
          <p:cNvSpPr txBox="1">
            <a:spLocks/>
          </p:cNvSpPr>
          <p:nvPr/>
        </p:nvSpPr>
        <p:spPr bwMode="gray">
          <a:xfrm>
            <a:off x="524582" y="2234508"/>
            <a:ext cx="2700000"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Components</a:t>
            </a:r>
            <a:endParaRPr lang="en-US" dirty="0"/>
          </a:p>
        </p:txBody>
      </p:sp>
      <p:sp>
        <p:nvSpPr>
          <p:cNvPr id="22" name="Text Placeholder 19">
            <a:extLst>
              <a:ext uri="{FF2B5EF4-FFF2-40B4-BE49-F238E27FC236}">
                <a16:creationId xmlns:a16="http://schemas.microsoft.com/office/drawing/2014/main" id="{9A280E47-4499-3272-59DC-6F4B6961AFAD}"/>
              </a:ext>
            </a:extLst>
          </p:cNvPr>
          <p:cNvSpPr txBox="1">
            <a:spLocks/>
          </p:cNvSpPr>
          <p:nvPr/>
        </p:nvSpPr>
        <p:spPr bwMode="gray">
          <a:xfrm>
            <a:off x="524582" y="3126255"/>
            <a:ext cx="2709782"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enes, Game View, Inspector</a:t>
            </a:r>
            <a:endParaRPr lang="en-US" dirty="0"/>
          </a:p>
        </p:txBody>
      </p:sp>
      <p:sp>
        <p:nvSpPr>
          <p:cNvPr id="23" name="Text Placeholder 19">
            <a:extLst>
              <a:ext uri="{FF2B5EF4-FFF2-40B4-BE49-F238E27FC236}">
                <a16:creationId xmlns:a16="http://schemas.microsoft.com/office/drawing/2014/main" id="{BEF36627-6E4A-E6E1-FEF7-94E3B90B161E}"/>
              </a:ext>
            </a:extLst>
          </p:cNvPr>
          <p:cNvSpPr txBox="1">
            <a:spLocks/>
          </p:cNvSpPr>
          <p:nvPr/>
        </p:nvSpPr>
        <p:spPr bwMode="gray">
          <a:xfrm>
            <a:off x="514800" y="4018002"/>
            <a:ext cx="2700000" cy="680486"/>
          </a:xfrm>
          <a:prstGeom prst="homePlate">
            <a:avLst>
              <a:gd name="adj" fmla="val 27582"/>
            </a:avLst>
          </a:prstGeom>
          <a:solidFill>
            <a:schemeClr val="tx2"/>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Prefabs</a:t>
            </a:r>
            <a:endParaRPr lang="en-US" dirty="0"/>
          </a:p>
        </p:txBody>
      </p:sp>
      <p:sp>
        <p:nvSpPr>
          <p:cNvPr id="28" name="TextBox 27">
            <a:extLst>
              <a:ext uri="{FF2B5EF4-FFF2-40B4-BE49-F238E27FC236}">
                <a16:creationId xmlns:a16="http://schemas.microsoft.com/office/drawing/2014/main" id="{F36F30AC-D637-D9DE-2CBF-8F581BE65DF8}"/>
              </a:ext>
            </a:extLst>
          </p:cNvPr>
          <p:cNvSpPr txBox="1"/>
          <p:nvPr/>
        </p:nvSpPr>
        <p:spPr>
          <a:xfrm>
            <a:off x="404380" y="6091793"/>
            <a:ext cx="6096000" cy="369332"/>
          </a:xfrm>
          <a:prstGeom prst="rect">
            <a:avLst/>
          </a:prstGeom>
          <a:noFill/>
        </p:spPr>
        <p:txBody>
          <a:bodyPr wrap="square">
            <a:spAutoFit/>
          </a:bodyPr>
          <a:lstStyle/>
          <a:p>
            <a:r>
              <a:rPr lang="en-US" dirty="0"/>
              <a:t>https://docs.unity3d.com/Manual/</a:t>
            </a:r>
          </a:p>
        </p:txBody>
      </p:sp>
      <p:pic>
        <p:nvPicPr>
          <p:cNvPr id="30" name="Picture 29">
            <a:extLst>
              <a:ext uri="{FF2B5EF4-FFF2-40B4-BE49-F238E27FC236}">
                <a16:creationId xmlns:a16="http://schemas.microsoft.com/office/drawing/2014/main" id="{3E8F7A1B-AEC7-E8DC-A40E-2F9815E01344}"/>
              </a:ext>
            </a:extLst>
          </p:cNvPr>
          <p:cNvPicPr>
            <a:picLocks noChangeAspect="1"/>
          </p:cNvPicPr>
          <p:nvPr/>
        </p:nvPicPr>
        <p:blipFill>
          <a:blip r:embed="rId5"/>
          <a:srcRect/>
          <a:stretch/>
        </p:blipFill>
        <p:spPr>
          <a:xfrm>
            <a:off x="7964482" y="1389670"/>
            <a:ext cx="3886200" cy="3886200"/>
          </a:xfrm>
          <a:prstGeom prst="rect">
            <a:avLst/>
          </a:prstGeom>
          <a:ln w="38100">
            <a:solidFill>
              <a:srgbClr val="003C3C"/>
            </a:solidFill>
          </a:ln>
        </p:spPr>
      </p:pic>
      <p:sp>
        <p:nvSpPr>
          <p:cNvPr id="31" name="Text Placeholder 19">
            <a:extLst>
              <a:ext uri="{FF2B5EF4-FFF2-40B4-BE49-F238E27FC236}">
                <a16:creationId xmlns:a16="http://schemas.microsoft.com/office/drawing/2014/main" id="{7E5808AF-7D14-E417-F818-CABD6C3CFDF5}"/>
              </a:ext>
            </a:extLst>
          </p:cNvPr>
          <p:cNvSpPr txBox="1">
            <a:spLocks/>
          </p:cNvSpPr>
          <p:nvPr/>
        </p:nvSpPr>
        <p:spPr bwMode="gray">
          <a:xfrm>
            <a:off x="519418" y="4909749"/>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ripts</a:t>
            </a:r>
            <a:endParaRPr lang="en-US" dirty="0"/>
          </a:p>
        </p:txBody>
      </p:sp>
    </p:spTree>
    <p:extLst>
      <p:ext uri="{BB962C8B-B14F-4D97-AF65-F5344CB8AC3E}">
        <p14:creationId xmlns:p14="http://schemas.microsoft.com/office/powerpoint/2010/main" val="2023020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5B7D8-4645-9E0C-5F19-E6193CE8A8A8}"/>
            </a:ext>
          </a:extLst>
        </p:cNvPr>
        <p:cNvGrpSpPr/>
        <p:nvPr/>
      </p:nvGrpSpPr>
      <p:grpSpPr>
        <a:xfrm>
          <a:off x="0" y="0"/>
          <a:ext cx="0" cy="0"/>
          <a:chOff x="0" y="0"/>
          <a:chExt cx="0" cy="0"/>
        </a:xfrm>
      </p:grpSpPr>
      <p:sp>
        <p:nvSpPr>
          <p:cNvPr id="20" name="Text Placeholder 19">
            <a:extLst>
              <a:ext uri="{FF2B5EF4-FFF2-40B4-BE49-F238E27FC236}">
                <a16:creationId xmlns:a16="http://schemas.microsoft.com/office/drawing/2014/main" id="{B6C2BF9B-811E-4107-7AA0-091B186CED54}"/>
              </a:ext>
            </a:extLst>
          </p:cNvPr>
          <p:cNvSpPr>
            <a:spLocks noGrp="1"/>
          </p:cNvSpPr>
          <p:nvPr>
            <p:ph type="body" sz="quarter" idx="23"/>
          </p:nvPr>
        </p:nvSpPr>
        <p:spPr>
          <a:xfrm>
            <a:off x="514800" y="1376914"/>
            <a:ext cx="2700000" cy="680486"/>
          </a:xfrm>
          <a:solidFill>
            <a:srgbClr val="46FFB1"/>
          </a:solidFill>
        </p:spPr>
        <p:txBody>
          <a:bodyPr/>
          <a:lstStyle/>
          <a:p>
            <a:r>
              <a:rPr lang="en-US" b="1" dirty="0" err="1"/>
              <a:t>GameObject</a:t>
            </a:r>
            <a:r>
              <a:rPr lang="en-US" dirty="0"/>
              <a:t> </a:t>
            </a:r>
          </a:p>
        </p:txBody>
      </p:sp>
      <p:sp>
        <p:nvSpPr>
          <p:cNvPr id="19" name="Content Placeholder 18">
            <a:extLst>
              <a:ext uri="{FF2B5EF4-FFF2-40B4-BE49-F238E27FC236}">
                <a16:creationId xmlns:a16="http://schemas.microsoft.com/office/drawing/2014/main" id="{E41A4C0D-B6E3-6BBF-17E9-4958059FAFD3}"/>
              </a:ext>
            </a:extLst>
          </p:cNvPr>
          <p:cNvSpPr>
            <a:spLocks noGrp="1"/>
          </p:cNvSpPr>
          <p:nvPr>
            <p:ph sz="quarter" idx="14"/>
          </p:nvPr>
        </p:nvSpPr>
        <p:spPr>
          <a:xfrm>
            <a:off x="3575050" y="1374314"/>
            <a:ext cx="4273550" cy="4464052"/>
          </a:xfrm>
        </p:spPr>
        <p:txBody>
          <a:bodyPr/>
          <a:lstStyle/>
          <a:p>
            <a:r>
              <a:rPr lang="en-US" dirty="0"/>
              <a:t>Unity uses C# for scripting, leveraging .NET libraries to manage game logic.</a:t>
            </a:r>
          </a:p>
          <a:p>
            <a:endParaRPr lang="en-US" dirty="0"/>
          </a:p>
          <a:p>
            <a:r>
              <a:rPr lang="en-US" b="1" dirty="0" err="1"/>
              <a:t>MonoBehaviours</a:t>
            </a:r>
            <a:r>
              <a:rPr lang="en-US" b="1" dirty="0"/>
              <a:t>:</a:t>
            </a:r>
            <a:r>
              <a:rPr lang="en-US" dirty="0"/>
              <a:t> Is the base class for most scripts and allows interaction with Unity’s game loop and lifecycle hooks key methods within </a:t>
            </a:r>
            <a:r>
              <a:rPr lang="en-US" b="1" dirty="0" err="1"/>
              <a:t>MonoBehaviour</a:t>
            </a:r>
            <a:r>
              <a:rPr lang="en-US" dirty="0"/>
              <a:t>:</a:t>
            </a:r>
          </a:p>
          <a:p>
            <a:pPr lvl="1"/>
            <a:r>
              <a:rPr lang="en-US" b="1" dirty="0"/>
              <a:t>Start()</a:t>
            </a:r>
            <a:r>
              <a:rPr lang="en-US" dirty="0"/>
              <a:t> – Initialization method, runs once when the </a:t>
            </a:r>
            <a:r>
              <a:rPr lang="en-US" dirty="0" err="1"/>
              <a:t>GameObject</a:t>
            </a:r>
            <a:r>
              <a:rPr lang="en-US" dirty="0"/>
              <a:t> is active.</a:t>
            </a:r>
          </a:p>
          <a:p>
            <a:pPr lvl="1"/>
            <a:r>
              <a:rPr lang="en-US" b="1" dirty="0"/>
              <a:t>Update()</a:t>
            </a:r>
            <a:r>
              <a:rPr lang="en-US" dirty="0"/>
              <a:t> – Runs every frame, ideal for code that continuously checks conditions, moves objects, etc.</a:t>
            </a:r>
          </a:p>
          <a:p>
            <a:pPr lvl="1"/>
            <a:endParaRPr lang="en-US" dirty="0"/>
          </a:p>
          <a:p>
            <a:r>
              <a:rPr lang="en-US" b="1" dirty="0"/>
              <a:t>.NET’s </a:t>
            </a:r>
            <a:r>
              <a:rPr lang="en-US" b="1" dirty="0" err="1"/>
              <a:t>Role:</a:t>
            </a:r>
            <a:r>
              <a:rPr lang="en-US" dirty="0" err="1"/>
              <a:t>.NET</a:t>
            </a:r>
            <a:r>
              <a:rPr lang="en-US" dirty="0"/>
              <a:t> and C# provide structure, object-oriented principles, and a vast ecosystem of libraries to manage game state, character stats, inventory, and more.</a:t>
            </a:r>
          </a:p>
        </p:txBody>
      </p:sp>
      <p:sp>
        <p:nvSpPr>
          <p:cNvPr id="6" name="Slide Number Placeholder 5">
            <a:extLst>
              <a:ext uri="{FF2B5EF4-FFF2-40B4-BE49-F238E27FC236}">
                <a16:creationId xmlns:a16="http://schemas.microsoft.com/office/drawing/2014/main" id="{8606FA1F-E4D9-108D-7916-513EED23CBB8}"/>
              </a:ext>
            </a:extLst>
          </p:cNvPr>
          <p:cNvSpPr>
            <a:spLocks noGrp="1"/>
          </p:cNvSpPr>
          <p:nvPr>
            <p:ph type="sldNum" sz="quarter" idx="12"/>
          </p:nvPr>
        </p:nvSpPr>
        <p:spPr/>
        <p:txBody>
          <a:bodyPr/>
          <a:lstStyle/>
          <a:p>
            <a:fld id="{898D279D-9EEE-4375-932F-276CB614E9A4}" type="slidenum">
              <a:rPr lang="de-DE" smtClean="0"/>
              <a:t>11</a:t>
            </a:fld>
            <a:endParaRPr lang="de-DE" dirty="0"/>
          </a:p>
        </p:txBody>
      </p:sp>
      <p:sp>
        <p:nvSpPr>
          <p:cNvPr id="18" name="Title 17">
            <a:extLst>
              <a:ext uri="{FF2B5EF4-FFF2-40B4-BE49-F238E27FC236}">
                <a16:creationId xmlns:a16="http://schemas.microsoft.com/office/drawing/2014/main" id="{9F5CCA12-3522-613A-003E-7297DC7CAE9B}"/>
              </a:ext>
            </a:extLst>
          </p:cNvPr>
          <p:cNvSpPr>
            <a:spLocks noGrp="1"/>
          </p:cNvSpPr>
          <p:nvPr>
            <p:ph type="title"/>
          </p:nvPr>
        </p:nvSpPr>
        <p:spPr/>
        <p:txBody>
          <a:bodyPr/>
          <a:lstStyle/>
          <a:p>
            <a:r>
              <a:rPr lang="en-US" sz="3200" dirty="0"/>
              <a:t>Part 2: Unity Basics and Core Concepts</a:t>
            </a:r>
            <a:br>
              <a:rPr lang="en-US" sz="2800" dirty="0"/>
            </a:br>
            <a:endParaRPr lang="en-US" dirty="0"/>
          </a:p>
        </p:txBody>
      </p:sp>
      <p:sp>
        <p:nvSpPr>
          <p:cNvPr id="21" name="Text Placeholder 19">
            <a:extLst>
              <a:ext uri="{FF2B5EF4-FFF2-40B4-BE49-F238E27FC236}">
                <a16:creationId xmlns:a16="http://schemas.microsoft.com/office/drawing/2014/main" id="{3F981416-4474-382E-4F6F-0F1F801478BC}"/>
              </a:ext>
            </a:extLst>
          </p:cNvPr>
          <p:cNvSpPr txBox="1">
            <a:spLocks/>
          </p:cNvSpPr>
          <p:nvPr/>
        </p:nvSpPr>
        <p:spPr bwMode="gray">
          <a:xfrm>
            <a:off x="524582" y="2234508"/>
            <a:ext cx="2700000"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Components</a:t>
            </a:r>
            <a:endParaRPr lang="en-US" dirty="0"/>
          </a:p>
        </p:txBody>
      </p:sp>
      <p:sp>
        <p:nvSpPr>
          <p:cNvPr id="22" name="Text Placeholder 19">
            <a:extLst>
              <a:ext uri="{FF2B5EF4-FFF2-40B4-BE49-F238E27FC236}">
                <a16:creationId xmlns:a16="http://schemas.microsoft.com/office/drawing/2014/main" id="{DCF04FEE-C4AF-11D9-F8E9-68086624A535}"/>
              </a:ext>
            </a:extLst>
          </p:cNvPr>
          <p:cNvSpPr txBox="1">
            <a:spLocks/>
          </p:cNvSpPr>
          <p:nvPr/>
        </p:nvSpPr>
        <p:spPr bwMode="gray">
          <a:xfrm>
            <a:off x="524582" y="3126255"/>
            <a:ext cx="2709782"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enes, Game View, Inspector</a:t>
            </a:r>
            <a:endParaRPr lang="en-US" dirty="0"/>
          </a:p>
        </p:txBody>
      </p:sp>
      <p:sp>
        <p:nvSpPr>
          <p:cNvPr id="23" name="Text Placeholder 19">
            <a:extLst>
              <a:ext uri="{FF2B5EF4-FFF2-40B4-BE49-F238E27FC236}">
                <a16:creationId xmlns:a16="http://schemas.microsoft.com/office/drawing/2014/main" id="{957F976A-B0C9-8E7C-5FB0-6A3D7A71BB2C}"/>
              </a:ext>
            </a:extLst>
          </p:cNvPr>
          <p:cNvSpPr txBox="1">
            <a:spLocks/>
          </p:cNvSpPr>
          <p:nvPr/>
        </p:nvSpPr>
        <p:spPr bwMode="gray">
          <a:xfrm>
            <a:off x="514800" y="4018002"/>
            <a:ext cx="2700000"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Prefabs</a:t>
            </a:r>
            <a:endParaRPr lang="en-US" dirty="0"/>
          </a:p>
        </p:txBody>
      </p:sp>
      <p:sp>
        <p:nvSpPr>
          <p:cNvPr id="28" name="TextBox 27">
            <a:extLst>
              <a:ext uri="{FF2B5EF4-FFF2-40B4-BE49-F238E27FC236}">
                <a16:creationId xmlns:a16="http://schemas.microsoft.com/office/drawing/2014/main" id="{23DB36A4-2316-603E-18EE-767CAA74783D}"/>
              </a:ext>
            </a:extLst>
          </p:cNvPr>
          <p:cNvSpPr txBox="1"/>
          <p:nvPr/>
        </p:nvSpPr>
        <p:spPr>
          <a:xfrm>
            <a:off x="404380" y="6091793"/>
            <a:ext cx="6096000" cy="369332"/>
          </a:xfrm>
          <a:prstGeom prst="rect">
            <a:avLst/>
          </a:prstGeom>
          <a:noFill/>
        </p:spPr>
        <p:txBody>
          <a:bodyPr wrap="square">
            <a:spAutoFit/>
          </a:bodyPr>
          <a:lstStyle/>
          <a:p>
            <a:r>
              <a:rPr lang="en-US" dirty="0"/>
              <a:t>https://docs.unity3d.com/Manual/</a:t>
            </a:r>
          </a:p>
        </p:txBody>
      </p:sp>
      <p:pic>
        <p:nvPicPr>
          <p:cNvPr id="30" name="Picture 29">
            <a:extLst>
              <a:ext uri="{FF2B5EF4-FFF2-40B4-BE49-F238E27FC236}">
                <a16:creationId xmlns:a16="http://schemas.microsoft.com/office/drawing/2014/main" id="{50FDCB9E-7F0A-89CA-11DB-24F194FB4BDB}"/>
              </a:ext>
            </a:extLst>
          </p:cNvPr>
          <p:cNvPicPr>
            <a:picLocks noChangeAspect="1"/>
          </p:cNvPicPr>
          <p:nvPr/>
        </p:nvPicPr>
        <p:blipFill>
          <a:blip r:embed="rId5"/>
          <a:srcRect/>
          <a:stretch/>
        </p:blipFill>
        <p:spPr>
          <a:xfrm>
            <a:off x="7964482" y="1389670"/>
            <a:ext cx="3886200" cy="3886200"/>
          </a:xfrm>
          <a:prstGeom prst="rect">
            <a:avLst/>
          </a:prstGeom>
          <a:ln w="38100">
            <a:solidFill>
              <a:srgbClr val="003C3C"/>
            </a:solidFill>
          </a:ln>
        </p:spPr>
      </p:pic>
      <p:sp>
        <p:nvSpPr>
          <p:cNvPr id="31" name="Text Placeholder 19">
            <a:extLst>
              <a:ext uri="{FF2B5EF4-FFF2-40B4-BE49-F238E27FC236}">
                <a16:creationId xmlns:a16="http://schemas.microsoft.com/office/drawing/2014/main" id="{A7A8212F-880F-D208-A1BA-1CF4D39300B5}"/>
              </a:ext>
            </a:extLst>
          </p:cNvPr>
          <p:cNvSpPr txBox="1">
            <a:spLocks/>
          </p:cNvSpPr>
          <p:nvPr/>
        </p:nvSpPr>
        <p:spPr bwMode="gray">
          <a:xfrm>
            <a:off x="519418" y="4909749"/>
            <a:ext cx="2700000" cy="680486"/>
          </a:xfrm>
          <a:prstGeom prst="homePlate">
            <a:avLst>
              <a:gd name="adj" fmla="val 27582"/>
            </a:avLst>
          </a:prstGeom>
          <a:solidFill>
            <a:schemeClr val="tx2"/>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ripts</a:t>
            </a:r>
            <a:endParaRPr lang="en-US" dirty="0"/>
          </a:p>
        </p:txBody>
      </p:sp>
    </p:spTree>
    <p:extLst>
      <p:ext uri="{BB962C8B-B14F-4D97-AF65-F5344CB8AC3E}">
        <p14:creationId xmlns:p14="http://schemas.microsoft.com/office/powerpoint/2010/main" val="801153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3F94C-64E0-ED3A-6AC1-9B02DFC2A867}"/>
            </a:ext>
          </a:extLst>
        </p:cNvPr>
        <p:cNvGrpSpPr/>
        <p:nvPr/>
      </p:nvGrpSpPr>
      <p:grpSpPr>
        <a:xfrm>
          <a:off x="0" y="0"/>
          <a:ext cx="0" cy="0"/>
          <a:chOff x="0" y="0"/>
          <a:chExt cx="0" cy="0"/>
        </a:xfrm>
      </p:grpSpPr>
      <p:sp>
        <p:nvSpPr>
          <p:cNvPr id="5" name="Inhaltsplatzhalter 4">
            <a:extLst>
              <a:ext uri="{FF2B5EF4-FFF2-40B4-BE49-F238E27FC236}">
                <a16:creationId xmlns:a16="http://schemas.microsoft.com/office/drawing/2014/main" id="{38C00A08-EDB3-90AF-A64C-CFD804227599}"/>
              </a:ext>
            </a:extLst>
          </p:cNvPr>
          <p:cNvSpPr>
            <a:spLocks noGrp="1"/>
          </p:cNvSpPr>
          <p:nvPr>
            <p:ph sz="quarter" idx="14"/>
          </p:nvPr>
        </p:nvSpPr>
        <p:spPr>
          <a:xfrm>
            <a:off x="3576676" y="1412471"/>
            <a:ext cx="7920000" cy="1332000"/>
          </a:xfrm>
        </p:spPr>
        <p:txBody>
          <a:bodyPr/>
          <a:lstStyle/>
          <a:p>
            <a:pPr lvl="1"/>
            <a:r>
              <a:rPr lang="en-US" b="1" dirty="0">
                <a:hlinkClick r:id="rId2"/>
              </a:rPr>
              <a:t>Unity Learn</a:t>
            </a:r>
            <a:r>
              <a:rPr lang="en-US" b="1" dirty="0"/>
              <a:t>: </a:t>
            </a:r>
            <a:r>
              <a:rPr lang="en-US" dirty="0"/>
              <a:t>Free tutorials and projects for beginners.</a:t>
            </a:r>
          </a:p>
          <a:p>
            <a:pPr lvl="1"/>
            <a:r>
              <a:rPr lang="en-US" b="1" dirty="0">
                <a:hlinkClick r:id="rId3"/>
              </a:rPr>
              <a:t>Microsoft Learn</a:t>
            </a:r>
            <a:r>
              <a:rPr lang="en-US" b="1" dirty="0"/>
              <a:t>: </a:t>
            </a:r>
            <a:r>
              <a:rPr lang="en-US" dirty="0"/>
              <a:t>Official documentation and tutorials on .NET and C#.</a:t>
            </a:r>
          </a:p>
          <a:p>
            <a:pPr lvl="1"/>
            <a:r>
              <a:rPr lang="de-DE" b="1" dirty="0"/>
              <a:t>https://www.youtube.com/@Brackeys/videos</a:t>
            </a:r>
          </a:p>
        </p:txBody>
      </p:sp>
      <p:sp>
        <p:nvSpPr>
          <p:cNvPr id="7" name="Inhaltsplatzhalter 6">
            <a:extLst>
              <a:ext uri="{FF2B5EF4-FFF2-40B4-BE49-F238E27FC236}">
                <a16:creationId xmlns:a16="http://schemas.microsoft.com/office/drawing/2014/main" id="{DBEF4065-2BF9-4B5A-4336-1495D58922B3}"/>
              </a:ext>
            </a:extLst>
          </p:cNvPr>
          <p:cNvSpPr>
            <a:spLocks noGrp="1"/>
          </p:cNvSpPr>
          <p:nvPr>
            <p:ph sz="quarter" idx="15"/>
          </p:nvPr>
        </p:nvSpPr>
        <p:spPr>
          <a:xfrm>
            <a:off x="3576676" y="2682126"/>
            <a:ext cx="7920000" cy="1332000"/>
          </a:xfrm>
        </p:spPr>
        <p:txBody>
          <a:bodyPr/>
          <a:lstStyle/>
          <a:p>
            <a:pPr lvl="1"/>
            <a:r>
              <a:rPr lang="en-US" b="1" dirty="0"/>
              <a:t>GitHub: </a:t>
            </a:r>
            <a:r>
              <a:rPr lang="en-US" dirty="0"/>
              <a:t>Search for open-source Unity and .NET game templates for inspiration</a:t>
            </a:r>
            <a:endParaRPr lang="de-DE" dirty="0"/>
          </a:p>
          <a:p>
            <a:pPr lvl="1"/>
            <a:r>
              <a:rPr lang="en-US" b="1" dirty="0">
                <a:hlinkClick r:id="rId4"/>
              </a:rPr>
              <a:t>Unity Asset Store</a:t>
            </a:r>
            <a:r>
              <a:rPr lang="en-US" b="1" dirty="0"/>
              <a:t>: </a:t>
            </a:r>
            <a:r>
              <a:rPr lang="en-US" dirty="0"/>
              <a:t>Find free and premium assets to streamline development.</a:t>
            </a:r>
            <a:endParaRPr lang="de-DE" dirty="0"/>
          </a:p>
        </p:txBody>
      </p:sp>
      <p:sp>
        <p:nvSpPr>
          <p:cNvPr id="9" name="Inhaltsplatzhalter 8">
            <a:extLst>
              <a:ext uri="{FF2B5EF4-FFF2-40B4-BE49-F238E27FC236}">
                <a16:creationId xmlns:a16="http://schemas.microsoft.com/office/drawing/2014/main" id="{A76A8D1D-3E21-F2A6-7806-F46187922BC6}"/>
              </a:ext>
            </a:extLst>
          </p:cNvPr>
          <p:cNvSpPr>
            <a:spLocks noGrp="1"/>
          </p:cNvSpPr>
          <p:nvPr>
            <p:ph sz="quarter" idx="16"/>
          </p:nvPr>
        </p:nvSpPr>
        <p:spPr>
          <a:xfrm>
            <a:off x="3576676" y="3975834"/>
            <a:ext cx="7920000" cy="1332000"/>
          </a:xfrm>
        </p:spPr>
        <p:txBody>
          <a:bodyPr/>
          <a:lstStyle/>
          <a:p>
            <a:pPr lvl="1"/>
            <a:r>
              <a:rPr lang="en-US" b="1" dirty="0"/>
              <a:t>Unity Personal</a:t>
            </a:r>
            <a:r>
              <a:rPr lang="en-US" dirty="0"/>
              <a:t>: This plan is available to customers with up to $200,000 in revenue and funding – Always Free</a:t>
            </a:r>
            <a:endParaRPr lang="de-DE" dirty="0"/>
          </a:p>
          <a:p>
            <a:pPr lvl="1"/>
            <a:r>
              <a:rPr lang="en-US" b="1" dirty="0"/>
              <a:t>Unity Pro</a:t>
            </a:r>
            <a:r>
              <a:rPr lang="en-US" dirty="0"/>
              <a:t>: While this plan is available to all, it is required for customers with $200,000 or more in revenue and funding.</a:t>
            </a:r>
          </a:p>
          <a:p>
            <a:pPr lvl="3">
              <a:buFont typeface="Arial" panose="020B0604020202020204" pitchFamily="34" charset="0"/>
              <a:buChar char="•"/>
            </a:pPr>
            <a:r>
              <a:rPr lang="en-US" dirty="0"/>
              <a:t>2025 - $2,200/yr per seat, prepaid yearly or $200/</a:t>
            </a:r>
            <a:r>
              <a:rPr lang="en-US" dirty="0" err="1"/>
              <a:t>mo</a:t>
            </a:r>
            <a:r>
              <a:rPr lang="en-US" dirty="0"/>
              <a:t> per seat, paid monthly</a:t>
            </a:r>
          </a:p>
          <a:p>
            <a:pPr lvl="1"/>
            <a:r>
              <a:rPr lang="en-US" b="1" dirty="0"/>
              <a:t>Unity Enterprise: </a:t>
            </a:r>
            <a:r>
              <a:rPr lang="en-US" dirty="0"/>
              <a:t>While this plan is available to all, it is required for customers with $25 million or more in revenue and funding</a:t>
            </a:r>
            <a:r>
              <a:rPr lang="en-US" b="1" dirty="0"/>
              <a:t>.</a:t>
            </a:r>
          </a:p>
          <a:p>
            <a:pPr lvl="3"/>
            <a:r>
              <a:rPr lang="en-US" dirty="0"/>
              <a:t>2025 - Custom pricing </a:t>
            </a:r>
            <a:r>
              <a:rPr lang="en-US" b="1" dirty="0"/>
              <a:t>: </a:t>
            </a:r>
            <a:r>
              <a:rPr lang="en-US" dirty="0"/>
              <a:t>A minimum subscription requirement may apply.</a:t>
            </a:r>
          </a:p>
          <a:p>
            <a:pPr marL="216000" lvl="2" indent="0">
              <a:buNone/>
            </a:pPr>
            <a:r>
              <a:rPr lang="en-US" dirty="0"/>
              <a:t>	</a:t>
            </a:r>
          </a:p>
        </p:txBody>
      </p:sp>
      <p:sp>
        <p:nvSpPr>
          <p:cNvPr id="12" name="Foliennummernplatzhalter 11">
            <a:extLst>
              <a:ext uri="{FF2B5EF4-FFF2-40B4-BE49-F238E27FC236}">
                <a16:creationId xmlns:a16="http://schemas.microsoft.com/office/drawing/2014/main" id="{189DEE1A-6B48-CAB7-AB81-410536502566}"/>
              </a:ext>
            </a:extLst>
          </p:cNvPr>
          <p:cNvSpPr>
            <a:spLocks noGrp="1"/>
          </p:cNvSpPr>
          <p:nvPr>
            <p:ph type="sldNum" sz="quarter" idx="24"/>
          </p:nvPr>
        </p:nvSpPr>
        <p:spPr>
          <a:xfrm>
            <a:off x="11640616" y="6065797"/>
            <a:ext cx="432000" cy="180000"/>
          </a:xfrm>
        </p:spPr>
        <p:txBody>
          <a:bodyPr/>
          <a:lstStyle/>
          <a:p>
            <a:fld id="{898D279D-9EEE-4375-932F-276CB614E9A4}" type="slidenum">
              <a:rPr lang="de-DE" smtClean="0"/>
              <a:pPr/>
              <a:t>12</a:t>
            </a:fld>
            <a:endParaRPr lang="de-DE" dirty="0"/>
          </a:p>
        </p:txBody>
      </p:sp>
      <p:sp>
        <p:nvSpPr>
          <p:cNvPr id="3" name="Titel 2">
            <a:extLst>
              <a:ext uri="{FF2B5EF4-FFF2-40B4-BE49-F238E27FC236}">
                <a16:creationId xmlns:a16="http://schemas.microsoft.com/office/drawing/2014/main" id="{DF8CA035-B9F9-E1E1-AC46-78043521610D}"/>
              </a:ext>
            </a:extLst>
          </p:cNvPr>
          <p:cNvSpPr>
            <a:spLocks noGrp="1"/>
          </p:cNvSpPr>
          <p:nvPr>
            <p:ph type="title"/>
          </p:nvPr>
        </p:nvSpPr>
        <p:spPr/>
        <p:txBody>
          <a:bodyPr/>
          <a:lstStyle/>
          <a:p>
            <a:r>
              <a:rPr lang="en-US" sz="3200" dirty="0"/>
              <a:t>Part 3: Resources, Repositories, and Pricing</a:t>
            </a:r>
            <a:endParaRPr lang="de-DE" sz="3200" dirty="0"/>
          </a:p>
        </p:txBody>
      </p:sp>
      <p:sp>
        <p:nvSpPr>
          <p:cNvPr id="4" name="Textplatzhalter 3">
            <a:extLst>
              <a:ext uri="{FF2B5EF4-FFF2-40B4-BE49-F238E27FC236}">
                <a16:creationId xmlns:a16="http://schemas.microsoft.com/office/drawing/2014/main" id="{0E5C8D6D-4BCF-B935-F619-CFECF51CD4C3}"/>
              </a:ext>
            </a:extLst>
          </p:cNvPr>
          <p:cNvSpPr>
            <a:spLocks noGrp="1"/>
          </p:cNvSpPr>
          <p:nvPr>
            <p:ph type="body" sz="quarter" idx="25"/>
          </p:nvPr>
        </p:nvSpPr>
        <p:spPr>
          <a:xfrm>
            <a:off x="514800" y="1403797"/>
            <a:ext cx="2700000" cy="864406"/>
          </a:xfrm>
        </p:spPr>
        <p:txBody>
          <a:bodyPr/>
          <a:lstStyle/>
          <a:p>
            <a:pPr lvl="5"/>
            <a:r>
              <a:rPr lang="en-US" b="1" dirty="0"/>
              <a:t>Learning Resources</a:t>
            </a:r>
            <a:endParaRPr lang="de-DE" b="1" dirty="0"/>
          </a:p>
        </p:txBody>
      </p:sp>
      <p:sp>
        <p:nvSpPr>
          <p:cNvPr id="6" name="Textplatzhalter 5">
            <a:extLst>
              <a:ext uri="{FF2B5EF4-FFF2-40B4-BE49-F238E27FC236}">
                <a16:creationId xmlns:a16="http://schemas.microsoft.com/office/drawing/2014/main" id="{61BBC824-6A52-DF06-4241-C4B3527FF230}"/>
              </a:ext>
            </a:extLst>
          </p:cNvPr>
          <p:cNvSpPr>
            <a:spLocks noGrp="1"/>
          </p:cNvSpPr>
          <p:nvPr>
            <p:ph type="body" sz="quarter" idx="26"/>
          </p:nvPr>
        </p:nvSpPr>
        <p:spPr>
          <a:xfrm>
            <a:off x="514800" y="2682126"/>
            <a:ext cx="2700000" cy="864406"/>
          </a:xfrm>
        </p:spPr>
        <p:txBody>
          <a:bodyPr/>
          <a:lstStyle/>
          <a:p>
            <a:pPr lvl="5"/>
            <a:r>
              <a:rPr lang="en-US" b="1" dirty="0"/>
              <a:t>Repositories and Community</a:t>
            </a:r>
            <a:endParaRPr lang="de-DE" dirty="0"/>
          </a:p>
        </p:txBody>
      </p:sp>
      <p:sp>
        <p:nvSpPr>
          <p:cNvPr id="8" name="Textplatzhalter 7">
            <a:extLst>
              <a:ext uri="{FF2B5EF4-FFF2-40B4-BE49-F238E27FC236}">
                <a16:creationId xmlns:a16="http://schemas.microsoft.com/office/drawing/2014/main" id="{AB2D7F1D-CFB0-6E4C-4496-8021D53886EF}"/>
              </a:ext>
            </a:extLst>
          </p:cNvPr>
          <p:cNvSpPr>
            <a:spLocks noGrp="1"/>
          </p:cNvSpPr>
          <p:nvPr>
            <p:ph type="body" sz="quarter" idx="27"/>
          </p:nvPr>
        </p:nvSpPr>
        <p:spPr>
          <a:xfrm>
            <a:off x="514800" y="3975834"/>
            <a:ext cx="2700000" cy="864406"/>
          </a:xfrm>
        </p:spPr>
        <p:txBody>
          <a:bodyPr/>
          <a:lstStyle/>
          <a:p>
            <a:pPr lvl="5"/>
            <a:r>
              <a:rPr lang="en-US" b="1" dirty="0"/>
              <a:t>Unity Pricing</a:t>
            </a:r>
            <a:endParaRPr lang="de-DE" dirty="0"/>
          </a:p>
        </p:txBody>
      </p:sp>
      <p:sp>
        <p:nvSpPr>
          <p:cNvPr id="16" name="TextBox 15">
            <a:extLst>
              <a:ext uri="{FF2B5EF4-FFF2-40B4-BE49-F238E27FC236}">
                <a16:creationId xmlns:a16="http://schemas.microsoft.com/office/drawing/2014/main" id="{E916E76B-28BC-5127-EFD0-6996573C1015}"/>
              </a:ext>
            </a:extLst>
          </p:cNvPr>
          <p:cNvSpPr txBox="1"/>
          <p:nvPr/>
        </p:nvSpPr>
        <p:spPr>
          <a:xfrm>
            <a:off x="381000" y="5454203"/>
            <a:ext cx="6096000" cy="369332"/>
          </a:xfrm>
          <a:prstGeom prst="rect">
            <a:avLst/>
          </a:prstGeom>
          <a:noFill/>
        </p:spPr>
        <p:txBody>
          <a:bodyPr wrap="square">
            <a:spAutoFit/>
          </a:bodyPr>
          <a:lstStyle/>
          <a:p>
            <a:r>
              <a:rPr lang="en-US" dirty="0">
                <a:hlinkClick r:id="rId5"/>
              </a:rPr>
              <a:t>https://unity.com/products</a:t>
            </a:r>
            <a:endParaRPr lang="en-US" dirty="0"/>
          </a:p>
        </p:txBody>
      </p:sp>
      <p:pic>
        <p:nvPicPr>
          <p:cNvPr id="10" name="Picture 9">
            <a:extLst>
              <a:ext uri="{FF2B5EF4-FFF2-40B4-BE49-F238E27FC236}">
                <a16:creationId xmlns:a16="http://schemas.microsoft.com/office/drawing/2014/main" id="{8B2F48FB-C750-7CDC-96F2-6327A8AC4701}"/>
              </a:ext>
            </a:extLst>
          </p:cNvPr>
          <p:cNvPicPr>
            <a:picLocks noChangeAspect="1"/>
          </p:cNvPicPr>
          <p:nvPr/>
        </p:nvPicPr>
        <p:blipFill>
          <a:blip r:embed="rId6"/>
          <a:stretch>
            <a:fillRect/>
          </a:stretch>
        </p:blipFill>
        <p:spPr>
          <a:xfrm>
            <a:off x="9544021" y="1937321"/>
            <a:ext cx="2133179" cy="744805"/>
          </a:xfrm>
          <a:prstGeom prst="rect">
            <a:avLst/>
          </a:prstGeom>
        </p:spPr>
      </p:pic>
    </p:spTree>
    <p:extLst>
      <p:ext uri="{BB962C8B-B14F-4D97-AF65-F5344CB8AC3E}">
        <p14:creationId xmlns:p14="http://schemas.microsoft.com/office/powerpoint/2010/main" val="172453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3C3C"/>
        </a:solidFill>
        <a:effectLst/>
      </p:bgPr>
    </p:bg>
    <p:spTree>
      <p:nvGrpSpPr>
        <p:cNvPr id="1" name="">
          <a:extLst>
            <a:ext uri="{FF2B5EF4-FFF2-40B4-BE49-F238E27FC236}">
              <a16:creationId xmlns:a16="http://schemas.microsoft.com/office/drawing/2014/main" id="{47C853FD-EEF9-688E-E936-FC1FB2452759}"/>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2E502335-A309-96B3-DCA6-3F1EDEDA129B}"/>
              </a:ext>
            </a:extLst>
          </p:cNvPr>
          <p:cNvSpPr>
            <a:spLocks noGrp="1"/>
          </p:cNvSpPr>
          <p:nvPr>
            <p:ph type="body" sz="quarter" idx="20"/>
          </p:nvPr>
        </p:nvSpPr>
        <p:spPr bwMode="gray"/>
        <p:txBody>
          <a:bodyPr/>
          <a:lstStyle/>
          <a:p>
            <a:r>
              <a:rPr lang="en-US" sz="5400" dirty="0"/>
              <a:t>Part 4: Creating a Simple FPS Game </a:t>
            </a:r>
            <a:br>
              <a:rPr lang="en-US" sz="5400" dirty="0"/>
            </a:br>
            <a:r>
              <a:rPr lang="en-US" sz="5400" dirty="0"/>
              <a:t>(DEMO)</a:t>
            </a:r>
            <a:endParaRPr lang="de-DE" sz="5400" dirty="0"/>
          </a:p>
        </p:txBody>
      </p:sp>
    </p:spTree>
    <p:extLst>
      <p:ext uri="{BB962C8B-B14F-4D97-AF65-F5344CB8AC3E}">
        <p14:creationId xmlns:p14="http://schemas.microsoft.com/office/powerpoint/2010/main" val="389093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9CBBF-70D7-BF6A-A5DE-9BDAFC2957FA}"/>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E1A46CC2-5108-334D-A001-5B1F8F01416B}"/>
              </a:ext>
            </a:extLst>
          </p:cNvPr>
          <p:cNvSpPr>
            <a:spLocks noGrp="1"/>
          </p:cNvSpPr>
          <p:nvPr>
            <p:ph type="body" sz="quarter" idx="20"/>
          </p:nvPr>
        </p:nvSpPr>
        <p:spPr bwMode="gray"/>
        <p:txBody>
          <a:bodyPr/>
          <a:lstStyle/>
          <a:p>
            <a:r>
              <a:rPr lang="en-US" sz="5400" dirty="0"/>
              <a:t>Part 5: Q&amp;A </a:t>
            </a:r>
            <a:endParaRPr lang="de-DE" sz="5400" dirty="0"/>
          </a:p>
        </p:txBody>
      </p:sp>
    </p:spTree>
    <p:extLst>
      <p:ext uri="{BB962C8B-B14F-4D97-AF65-F5344CB8AC3E}">
        <p14:creationId xmlns:p14="http://schemas.microsoft.com/office/powerpoint/2010/main" val="299362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81790-F628-5DFF-1F2C-C8CC6AA1FB4D}"/>
            </a:ext>
          </a:extLst>
        </p:cNvPr>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3C76258-FFCF-FD4E-2B5F-14BFB4229C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0" name="Objekt 9" hidden="1">
                        <a:extLst>
                          <a:ext uri="{FF2B5EF4-FFF2-40B4-BE49-F238E27FC236}">
                            <a16:creationId xmlns:a16="http://schemas.microsoft.com/office/drawing/2014/main" id="{53C76258-FFCF-FD4E-2B5F-14BFB4229C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CFE9C184-F217-6DC2-8720-6B0D73C499F2}"/>
              </a:ext>
            </a:extLst>
          </p:cNvPr>
          <p:cNvSpPr>
            <a:spLocks noGrp="1"/>
          </p:cNvSpPr>
          <p:nvPr>
            <p:ph type="title"/>
          </p:nvPr>
        </p:nvSpPr>
        <p:spPr>
          <a:xfrm>
            <a:off x="903858" y="0"/>
            <a:ext cx="4506342" cy="6858000"/>
          </a:xfrm>
        </p:spPr>
        <p:txBody>
          <a:bodyPr vert="horz"/>
          <a:lstStyle/>
          <a:p>
            <a:r>
              <a:rPr lang="de-DE" dirty="0"/>
              <a:t>About</a:t>
            </a:r>
            <a:br>
              <a:rPr lang="de-DE" dirty="0"/>
            </a:br>
            <a:endParaRPr lang="de-DE" dirty="0"/>
          </a:p>
        </p:txBody>
      </p:sp>
      <p:sp>
        <p:nvSpPr>
          <p:cNvPr id="9" name="Textplatzhalter 8">
            <a:extLst>
              <a:ext uri="{FF2B5EF4-FFF2-40B4-BE49-F238E27FC236}">
                <a16:creationId xmlns:a16="http://schemas.microsoft.com/office/drawing/2014/main" id="{0069A8A1-024B-4931-3A69-197FF516EF86}"/>
              </a:ext>
            </a:extLst>
          </p:cNvPr>
          <p:cNvSpPr>
            <a:spLocks noGrp="1"/>
          </p:cNvSpPr>
          <p:nvPr>
            <p:ph type="body" idx="13"/>
          </p:nvPr>
        </p:nvSpPr>
        <p:spPr>
          <a:xfrm>
            <a:off x="5410200" y="0"/>
            <a:ext cx="6014392" cy="6858000"/>
          </a:xfrm>
        </p:spPr>
        <p:txBody>
          <a:bodyPr/>
          <a:lstStyle/>
          <a:p>
            <a:r>
              <a:rPr lang="de-DE" dirty="0" err="1"/>
              <a:t>me</a:t>
            </a:r>
            <a:endParaRPr lang="de-DE" dirty="0"/>
          </a:p>
          <a:p>
            <a:endParaRPr lang="de-DE" dirty="0"/>
          </a:p>
        </p:txBody>
      </p:sp>
      <p:sp>
        <p:nvSpPr>
          <p:cNvPr id="6" name="Foliennummernplatzhalter 5">
            <a:extLst>
              <a:ext uri="{FF2B5EF4-FFF2-40B4-BE49-F238E27FC236}">
                <a16:creationId xmlns:a16="http://schemas.microsoft.com/office/drawing/2014/main" id="{4930F91D-474A-B6C8-26F3-CC4189E60C94}"/>
              </a:ext>
            </a:extLst>
          </p:cNvPr>
          <p:cNvSpPr>
            <a:spLocks noGrp="1"/>
          </p:cNvSpPr>
          <p:nvPr>
            <p:ph type="sldNum" sz="quarter" idx="4294967295"/>
          </p:nvPr>
        </p:nvSpPr>
        <p:spPr>
          <a:xfrm>
            <a:off x="11760200" y="6480175"/>
            <a:ext cx="431800" cy="360363"/>
          </a:xfrm>
        </p:spPr>
        <p:txBody>
          <a:bodyPr/>
          <a:lstStyle/>
          <a:p>
            <a:fld id="{6CD515F4-3BB0-4D2D-B804-977A8FDF33E8}" type="slidenum">
              <a:rPr lang="de-DE" smtClean="0"/>
              <a:pPr/>
              <a:t>2</a:t>
            </a:fld>
            <a:endParaRPr lang="de-DE"/>
          </a:p>
        </p:txBody>
      </p:sp>
      <p:pic>
        <p:nvPicPr>
          <p:cNvPr id="20" name="Grafik 19">
            <a:extLst>
              <a:ext uri="{FF2B5EF4-FFF2-40B4-BE49-F238E27FC236}">
                <a16:creationId xmlns:a16="http://schemas.microsoft.com/office/drawing/2014/main" id="{F3082784-053D-4BC7-5DB8-3A8DDE44427A}"/>
              </a:ext>
            </a:extLst>
          </p:cNvPr>
          <p:cNvPicPr>
            <a:picLocks noChangeAspect="1"/>
          </p:cNvPicPr>
          <p:nvPr/>
        </p:nvPicPr>
        <p:blipFill>
          <a:blip r:embed="rId6"/>
          <a:srcRect/>
          <a:stretch/>
        </p:blipFill>
        <p:spPr>
          <a:xfrm>
            <a:off x="7241621" y="990600"/>
            <a:ext cx="3887231" cy="2591669"/>
          </a:xfrm>
          <a:prstGeom prst="rect">
            <a:avLst/>
          </a:prstGeom>
        </p:spPr>
      </p:pic>
      <p:sp>
        <p:nvSpPr>
          <p:cNvPr id="26" name="Textfeld 25">
            <a:extLst>
              <a:ext uri="{FF2B5EF4-FFF2-40B4-BE49-F238E27FC236}">
                <a16:creationId xmlns:a16="http://schemas.microsoft.com/office/drawing/2014/main" id="{5381D39D-C070-3955-1EAA-91935EA73319}"/>
              </a:ext>
            </a:extLst>
          </p:cNvPr>
          <p:cNvSpPr txBox="1"/>
          <p:nvPr/>
        </p:nvSpPr>
        <p:spPr>
          <a:xfrm>
            <a:off x="4923773" y="1672089"/>
            <a:ext cx="1577676" cy="461665"/>
          </a:xfrm>
          <a:prstGeom prst="rect">
            <a:avLst/>
          </a:prstGeom>
          <a:noFill/>
        </p:spPr>
        <p:txBody>
          <a:bodyPr wrap="none" rtlCol="0">
            <a:spAutoFit/>
          </a:bodyPr>
          <a:lstStyle/>
          <a:p>
            <a:r>
              <a:rPr lang="de-DE" sz="2400" dirty="0">
                <a:latin typeface="Comic Sans MS" panose="030F0702030302020204" pitchFamily="66" charset="0"/>
              </a:rPr>
              <a:t>That‘s </a:t>
            </a:r>
            <a:r>
              <a:rPr lang="de-DE" sz="2400" dirty="0" err="1">
                <a:latin typeface="Comic Sans MS" panose="030F0702030302020204" pitchFamily="66" charset="0"/>
              </a:rPr>
              <a:t>me</a:t>
            </a:r>
            <a:endParaRPr lang="de-DE" sz="2400" dirty="0">
              <a:latin typeface="Comic Sans MS" panose="030F0702030302020204" pitchFamily="66" charset="0"/>
            </a:endParaRPr>
          </a:p>
        </p:txBody>
      </p:sp>
      <p:cxnSp>
        <p:nvCxnSpPr>
          <p:cNvPr id="27" name="Verbinder: gekrümmt 26">
            <a:extLst>
              <a:ext uri="{FF2B5EF4-FFF2-40B4-BE49-F238E27FC236}">
                <a16:creationId xmlns:a16="http://schemas.microsoft.com/office/drawing/2014/main" id="{232ABDD7-0CBE-284D-D8A5-ACF25E5DC4FE}"/>
              </a:ext>
            </a:extLst>
          </p:cNvPr>
          <p:cNvCxnSpPr>
            <a:cxnSpLocks/>
          </p:cNvCxnSpPr>
          <p:nvPr/>
        </p:nvCxnSpPr>
        <p:spPr>
          <a:xfrm flipV="1">
            <a:off x="6609296" y="1752600"/>
            <a:ext cx="1295400" cy="381154"/>
          </a:xfrm>
          <a:prstGeom prst="curved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289D21B5-E158-6672-99C6-7CE6CC5B2797}"/>
              </a:ext>
            </a:extLst>
          </p:cNvPr>
          <p:cNvSpPr txBox="1"/>
          <p:nvPr/>
        </p:nvSpPr>
        <p:spPr>
          <a:xfrm>
            <a:off x="2427301" y="3505200"/>
            <a:ext cx="4479282" cy="2191624"/>
          </a:xfrm>
          <a:prstGeom prst="rect">
            <a:avLst/>
          </a:prstGeom>
          <a:noFill/>
        </p:spPr>
        <p:txBody>
          <a:bodyPr wrap="square" lIns="0" tIns="0" rIns="0" bIns="0" rtlCol="0">
            <a:noAutofit/>
          </a:bodyPr>
          <a:lstStyle/>
          <a:p>
            <a:pPr marL="285750" marR="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pPr>
            <a:r>
              <a:rPr kumimoji="0" lang="de-DE" sz="1600" b="0" i="0" u="none" strike="noStrike" kern="1200" cap="none" spc="40" normalizeH="0" baseline="0" noProof="0" dirty="0">
                <a:ln>
                  <a:noFill/>
                </a:ln>
                <a:solidFill>
                  <a:srgbClr val="000000"/>
                </a:solidFill>
                <a:effectLst/>
                <a:uLnTx/>
                <a:uFillTx/>
                <a:latin typeface="Calibri"/>
                <a:ea typeface="+mn-ea"/>
                <a:cs typeface="+mn-cs"/>
              </a:rPr>
              <a:t>Part of Accso since 2022</a:t>
            </a:r>
          </a:p>
          <a:p>
            <a:pPr marL="285750" marR="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pPr>
            <a:r>
              <a:rPr lang="de-DE" sz="1600" spc="40" dirty="0">
                <a:solidFill>
                  <a:srgbClr val="000000"/>
                </a:solidFill>
                <a:latin typeface="Calibri"/>
              </a:rPr>
              <a:t>Managing Consultant</a:t>
            </a:r>
            <a:endParaRPr kumimoji="0" lang="de-DE" sz="1600" b="0" i="0" u="none" strike="noStrike" kern="1200" cap="none" spc="40" normalizeH="0" baseline="0" noProof="0" dirty="0">
              <a:ln>
                <a:noFill/>
              </a:ln>
              <a:solidFill>
                <a:srgbClr val="000000"/>
              </a:solidFill>
              <a:effectLst/>
              <a:uLnTx/>
              <a:uFillTx/>
              <a:latin typeface="Calibri"/>
              <a:ea typeface="+mn-ea"/>
              <a:cs typeface="+mn-cs"/>
            </a:endParaRPr>
          </a:p>
          <a:p>
            <a:pPr marL="285750" marR="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pPr>
            <a:r>
              <a:rPr lang="de-DE" sz="1600" spc="40" dirty="0">
                <a:solidFill>
                  <a:srgbClr val="000000"/>
                </a:solidFill>
                <a:latin typeface="Calibri"/>
              </a:rPr>
              <a:t>Full stack dev, Architect, Project Manager</a:t>
            </a:r>
            <a:endParaRPr kumimoji="0" lang="de-DE" sz="1600" b="0" i="0" u="none" strike="noStrike" kern="1200" cap="none" spc="40" normalizeH="0" baseline="0" noProof="0" dirty="0">
              <a:ln>
                <a:noFill/>
              </a:ln>
              <a:solidFill>
                <a:srgbClr val="000000"/>
              </a:solidFill>
              <a:effectLst/>
              <a:uLnTx/>
              <a:uFillTx/>
              <a:latin typeface="Calibri"/>
              <a:ea typeface="+mn-ea"/>
              <a:cs typeface="+mn-cs"/>
            </a:endParaRPr>
          </a:p>
          <a:p>
            <a:pPr marL="285750" marR="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pPr>
            <a:r>
              <a:rPr lang="de-DE" sz="1600" spc="40" dirty="0">
                <a:solidFill>
                  <a:srgbClr val="000000"/>
                </a:solidFill>
                <a:latin typeface="Calibri"/>
              </a:rPr>
              <a:t>Wife and 2 kids, 1 Girl &amp; 1 Boy</a:t>
            </a:r>
            <a:endParaRPr kumimoji="0" lang="de-DE" sz="1600" b="0" i="0" u="none" strike="noStrike" kern="1200" cap="none" spc="40" normalizeH="0" baseline="0" noProof="0" dirty="0">
              <a:ln>
                <a:noFill/>
              </a:ln>
              <a:solidFill>
                <a:srgbClr val="000000"/>
              </a:solidFill>
              <a:effectLst/>
              <a:uLnTx/>
              <a:uFillTx/>
              <a:latin typeface="Calibri"/>
              <a:ea typeface="+mn-ea"/>
              <a:cs typeface="+mn-cs"/>
            </a:endParaRPr>
          </a:p>
          <a:p>
            <a:pPr marL="285750" marR="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ü"/>
              <a:tabLst/>
            </a:pPr>
            <a:r>
              <a:rPr lang="de-DE" sz="1600" spc="40" dirty="0">
                <a:solidFill>
                  <a:srgbClr val="000000"/>
                </a:solidFill>
                <a:latin typeface="Calibri"/>
              </a:rPr>
              <a:t>Loves exercise, Gaming and Programming</a:t>
            </a:r>
          </a:p>
        </p:txBody>
      </p:sp>
    </p:spTree>
    <p:extLst>
      <p:ext uri="{BB962C8B-B14F-4D97-AF65-F5344CB8AC3E}">
        <p14:creationId xmlns:p14="http://schemas.microsoft.com/office/powerpoint/2010/main" val="1626079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9BB87-FD0F-90CE-93BD-6DA19CADE13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E5C1746-BAF8-5D46-1018-B6AF62594685}"/>
              </a:ext>
            </a:extLst>
          </p:cNvPr>
          <p:cNvSpPr>
            <a:spLocks noGrp="1"/>
          </p:cNvSpPr>
          <p:nvPr>
            <p:ph type="sldNum" sz="quarter" idx="12"/>
          </p:nvPr>
        </p:nvSpPr>
        <p:spPr/>
        <p:txBody>
          <a:bodyPr/>
          <a:lstStyle/>
          <a:p>
            <a:fld id="{898D279D-9EEE-4375-932F-276CB614E9A4}" type="slidenum">
              <a:rPr lang="de-DE" smtClean="0"/>
              <a:t>3</a:t>
            </a:fld>
            <a:endParaRPr lang="de-DE"/>
          </a:p>
        </p:txBody>
      </p:sp>
      <p:pic>
        <p:nvPicPr>
          <p:cNvPr id="13" name="Picture 12">
            <a:extLst>
              <a:ext uri="{FF2B5EF4-FFF2-40B4-BE49-F238E27FC236}">
                <a16:creationId xmlns:a16="http://schemas.microsoft.com/office/drawing/2014/main" id="{F16BC5D4-6BEB-B2C6-4D1F-4764693B8136}"/>
              </a:ext>
            </a:extLst>
          </p:cNvPr>
          <p:cNvPicPr>
            <a:picLocks noChangeAspect="1"/>
          </p:cNvPicPr>
          <p:nvPr/>
        </p:nvPicPr>
        <p:blipFill>
          <a:blip r:embed="rId3"/>
          <a:srcRect/>
          <a:stretch/>
        </p:blipFill>
        <p:spPr>
          <a:xfrm>
            <a:off x="0" y="-13790"/>
            <a:ext cx="12192000" cy="6858000"/>
          </a:xfrm>
          <a:prstGeom prst="rect">
            <a:avLst/>
          </a:prstGeom>
        </p:spPr>
      </p:pic>
    </p:spTree>
    <p:extLst>
      <p:ext uri="{BB962C8B-B14F-4D97-AF65-F5344CB8AC3E}">
        <p14:creationId xmlns:p14="http://schemas.microsoft.com/office/powerpoint/2010/main" val="1240002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38C79-F14D-76E5-49A1-7F0F5B3F89B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7231D09-5428-EBF3-7F44-53095731E78C}"/>
              </a:ext>
            </a:extLst>
          </p:cNvPr>
          <p:cNvSpPr>
            <a:spLocks noGrp="1"/>
          </p:cNvSpPr>
          <p:nvPr>
            <p:ph type="sldNum" sz="quarter" idx="12"/>
          </p:nvPr>
        </p:nvSpPr>
        <p:spPr/>
        <p:txBody>
          <a:bodyPr/>
          <a:lstStyle/>
          <a:p>
            <a:fld id="{898D279D-9EEE-4375-932F-276CB614E9A4}" type="slidenum">
              <a:rPr lang="de-DE" smtClean="0"/>
              <a:t>4</a:t>
            </a:fld>
            <a:endParaRPr lang="de-DE"/>
          </a:p>
        </p:txBody>
      </p:sp>
      <p:pic>
        <p:nvPicPr>
          <p:cNvPr id="13" name="Picture 12" descr="A blue and white background with many icons&#10;&#10;Description automatically generated with medium confidence">
            <a:extLst>
              <a:ext uri="{FF2B5EF4-FFF2-40B4-BE49-F238E27FC236}">
                <a16:creationId xmlns:a16="http://schemas.microsoft.com/office/drawing/2014/main" id="{E41F7812-AEC0-3FE0-0D5D-2DF51BBC5036}"/>
              </a:ext>
            </a:extLst>
          </p:cNvPr>
          <p:cNvPicPr>
            <a:picLocks noChangeAspect="1"/>
          </p:cNvPicPr>
          <p:nvPr/>
        </p:nvPicPr>
        <p:blipFill>
          <a:blip r:embed="rId3"/>
          <a:stretch>
            <a:fillRect/>
          </a:stretch>
        </p:blipFill>
        <p:spPr>
          <a:xfrm>
            <a:off x="0" y="-68218"/>
            <a:ext cx="12192000" cy="6966856"/>
          </a:xfrm>
          <a:prstGeom prst="rect">
            <a:avLst/>
          </a:prstGeom>
        </p:spPr>
      </p:pic>
    </p:spTree>
    <p:extLst>
      <p:ext uri="{BB962C8B-B14F-4D97-AF65-F5344CB8AC3E}">
        <p14:creationId xmlns:p14="http://schemas.microsoft.com/office/powerpoint/2010/main" val="3249312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DEBD1-1BF3-4CFF-E843-77FCAD49F405}"/>
            </a:ext>
          </a:extLst>
        </p:cNvPr>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32F7DC-3731-4827-E13C-0CFFF88F0F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Objekt 6" hidden="1">
                        <a:extLst>
                          <a:ext uri="{FF2B5EF4-FFF2-40B4-BE49-F238E27FC236}">
                            <a16:creationId xmlns:a16="http://schemas.microsoft.com/office/drawing/2014/main" id="{8532F7DC-3731-4827-E13C-0CFFF88F0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F7F43482-B76A-0124-EE7E-407F966B8EF7}"/>
              </a:ext>
            </a:extLst>
          </p:cNvPr>
          <p:cNvSpPr>
            <a:spLocks noGrp="1"/>
          </p:cNvSpPr>
          <p:nvPr>
            <p:ph type="body" sz="quarter" idx="20"/>
          </p:nvPr>
        </p:nvSpPr>
        <p:spPr>
          <a:xfrm>
            <a:off x="475873" y="990600"/>
            <a:ext cx="10889259" cy="864406"/>
          </a:xfrm>
        </p:spPr>
        <p:txBody>
          <a:bodyPr/>
          <a:lstStyle/>
          <a:p>
            <a:r>
              <a:rPr lang="de-DE" sz="3600" dirty="0">
                <a:latin typeface="+mj-lt"/>
              </a:rPr>
              <a:t>Agenda </a:t>
            </a:r>
          </a:p>
        </p:txBody>
      </p:sp>
      <p:sp>
        <p:nvSpPr>
          <p:cNvPr id="2" name="Inhaltsplatzhalter 4">
            <a:extLst>
              <a:ext uri="{FF2B5EF4-FFF2-40B4-BE49-F238E27FC236}">
                <a16:creationId xmlns:a16="http://schemas.microsoft.com/office/drawing/2014/main" id="{E7DEBEF2-6820-002D-478B-CEFFBDC16147}"/>
              </a:ext>
            </a:extLst>
          </p:cNvPr>
          <p:cNvSpPr>
            <a:spLocks noGrp="1"/>
          </p:cNvSpPr>
          <p:nvPr>
            <p:ph idx="1"/>
          </p:nvPr>
        </p:nvSpPr>
        <p:spPr>
          <a:xfrm>
            <a:off x="475873" y="2066636"/>
            <a:ext cx="10800000" cy="4257964"/>
          </a:xfrm>
        </p:spPr>
        <p:txBody>
          <a:bodyPr vert="horz" lIns="0" tIns="0" rIns="0" bIns="0" rtlCol="0" anchor="t">
            <a:noAutofit/>
          </a:bodyPr>
          <a:lstStyle/>
          <a:p>
            <a:pPr marL="285750" indent="-285750">
              <a:buFont typeface="Wingdings" panose="05000000000000000000" pitchFamily="2" charset="2"/>
              <a:buChar char="Ø"/>
            </a:pPr>
            <a:r>
              <a:rPr lang="en-US" sz="3200" dirty="0"/>
              <a:t>Part 1: Why Unity?</a:t>
            </a:r>
            <a:endParaRPr lang="de-DE" sz="3200" dirty="0"/>
          </a:p>
          <a:p>
            <a:pPr marL="285750" indent="-285750">
              <a:buFont typeface="Wingdings" panose="05000000000000000000" pitchFamily="2" charset="2"/>
              <a:buChar char="Ø"/>
            </a:pPr>
            <a:r>
              <a:rPr lang="en-US" sz="3200" dirty="0"/>
              <a:t>Part 2: Unity Basics and Core Concepts </a:t>
            </a:r>
          </a:p>
          <a:p>
            <a:pPr marL="285750" indent="-285750">
              <a:buFont typeface="Wingdings" panose="05000000000000000000" pitchFamily="2" charset="2"/>
              <a:buChar char="Ø"/>
            </a:pPr>
            <a:r>
              <a:rPr lang="en-US" sz="3200" dirty="0"/>
              <a:t>Part 3: Resources, Pricing, Repositories</a:t>
            </a:r>
          </a:p>
          <a:p>
            <a:pPr marL="285750" indent="-285750">
              <a:buFont typeface="Wingdings" panose="05000000000000000000" pitchFamily="2" charset="2"/>
              <a:buChar char="Ø"/>
            </a:pPr>
            <a:r>
              <a:rPr lang="en-US" sz="3200" dirty="0"/>
              <a:t>Part 4: DEMO – Create a Game</a:t>
            </a:r>
          </a:p>
          <a:p>
            <a:pPr marL="285750" indent="-285750">
              <a:buFont typeface="Wingdings" panose="05000000000000000000" pitchFamily="2" charset="2"/>
              <a:buChar char="Ø"/>
            </a:pPr>
            <a:r>
              <a:rPr lang="en-US" sz="3200" dirty="0"/>
              <a:t>Part 5: Q&amp;A</a:t>
            </a:r>
            <a:endParaRPr lang="de-DE" sz="3200" dirty="0"/>
          </a:p>
          <a:p>
            <a:pPr marL="285750" indent="-285750">
              <a:buFont typeface="Wingdings" panose="05000000000000000000" pitchFamily="2" charset="2"/>
              <a:buChar char="Ø"/>
            </a:pPr>
            <a:endParaRPr lang="de-DE" sz="2800" dirty="0"/>
          </a:p>
        </p:txBody>
      </p:sp>
    </p:spTree>
    <p:extLst>
      <p:ext uri="{BB962C8B-B14F-4D97-AF65-F5344CB8AC3E}">
        <p14:creationId xmlns:p14="http://schemas.microsoft.com/office/powerpoint/2010/main" val="2946344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0E070394-BFFB-2D64-AD54-127F2ED9B2EF}"/>
              </a:ext>
            </a:extLst>
          </p:cNvPr>
          <p:cNvSpPr>
            <a:spLocks noGrp="1"/>
          </p:cNvSpPr>
          <p:nvPr>
            <p:ph type="sldNum" sz="quarter" idx="12"/>
          </p:nvPr>
        </p:nvSpPr>
        <p:spPr/>
        <p:txBody>
          <a:bodyPr/>
          <a:lstStyle/>
          <a:p>
            <a:fld id="{1A2CFED3-8F6A-4617-95E5-25D21BE72BEB}" type="slidenum">
              <a:rPr lang="de-DE" smtClean="0"/>
              <a:pPr/>
              <a:t>6</a:t>
            </a:fld>
            <a:endParaRPr lang="de-DE" dirty="0"/>
          </a:p>
        </p:txBody>
      </p:sp>
      <p:sp>
        <p:nvSpPr>
          <p:cNvPr id="28" name="Title 27">
            <a:extLst>
              <a:ext uri="{FF2B5EF4-FFF2-40B4-BE49-F238E27FC236}">
                <a16:creationId xmlns:a16="http://schemas.microsoft.com/office/drawing/2014/main" id="{A55DA0C8-C9E1-9FCA-24DC-71C7CD8542F3}"/>
              </a:ext>
            </a:extLst>
          </p:cNvPr>
          <p:cNvSpPr>
            <a:spLocks noGrp="1"/>
          </p:cNvSpPr>
          <p:nvPr>
            <p:ph type="title"/>
          </p:nvPr>
        </p:nvSpPr>
        <p:spPr/>
        <p:txBody>
          <a:bodyPr/>
          <a:lstStyle/>
          <a:p>
            <a:r>
              <a:rPr lang="en-US" sz="3200" dirty="0"/>
              <a:t>Part 1: Why Unity? </a:t>
            </a:r>
            <a:br>
              <a:rPr lang="en-US" sz="3200" dirty="0"/>
            </a:br>
            <a:endParaRPr lang="en-US" dirty="0"/>
          </a:p>
        </p:txBody>
      </p:sp>
      <p:sp>
        <p:nvSpPr>
          <p:cNvPr id="31" name="Chart Placeholder 31">
            <a:extLst>
              <a:ext uri="{FF2B5EF4-FFF2-40B4-BE49-F238E27FC236}">
                <a16:creationId xmlns:a16="http://schemas.microsoft.com/office/drawing/2014/main" id="{159FF054-3F99-606A-FBAD-3452EF0B5BEB}"/>
              </a:ext>
            </a:extLst>
          </p:cNvPr>
          <p:cNvSpPr txBox="1">
            <a:spLocks/>
          </p:cNvSpPr>
          <p:nvPr/>
        </p:nvSpPr>
        <p:spPr bwMode="gray">
          <a:xfrm>
            <a:off x="4243387" y="3063401"/>
            <a:ext cx="2809875" cy="1626428"/>
          </a:xfrm>
          <a:prstGeom prst="rect">
            <a:avLst/>
          </a:prstGeom>
          <a:blipFill>
            <a:blip r:embed="rId3"/>
            <a:stretch>
              <a:fillRect/>
            </a:stretch>
          </a:blipFill>
          <a:ln w="38100">
            <a:solidFill>
              <a:srgbClr val="003C3C"/>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Tx/>
              <a:buNone/>
              <a:defRPr lang="de-DE" sz="1400" kern="1200" cap="none" spc="40" baseline="0" noProof="0">
                <a:solidFill>
                  <a:schemeClr val="tx1"/>
                </a:solidFill>
                <a:latin typeface="+mj-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4">
                  <a:extLst>
                    <a:ext uri="{96DAC541-7B7A-43D3-8B79-37D633B846F1}">
                      <asvg:svgBlip xmlns:asvg="http://schemas.microsoft.com/office/drawing/2016/SVG/main" r:embed="rId5"/>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endParaRPr lang="en-US"/>
          </a:p>
        </p:txBody>
      </p:sp>
      <p:sp>
        <p:nvSpPr>
          <p:cNvPr id="33" name="Chart Placeholder 28">
            <a:extLst>
              <a:ext uri="{FF2B5EF4-FFF2-40B4-BE49-F238E27FC236}">
                <a16:creationId xmlns:a16="http://schemas.microsoft.com/office/drawing/2014/main" id="{71A4E047-0519-5318-A035-5E0D234C2C58}"/>
              </a:ext>
            </a:extLst>
          </p:cNvPr>
          <p:cNvSpPr txBox="1">
            <a:spLocks/>
          </p:cNvSpPr>
          <p:nvPr/>
        </p:nvSpPr>
        <p:spPr bwMode="gray">
          <a:xfrm>
            <a:off x="8382000" y="1276431"/>
            <a:ext cx="2592461" cy="1661887"/>
          </a:xfrm>
          <a:prstGeom prst="rect">
            <a:avLst/>
          </a:prstGeom>
          <a:blipFill>
            <a:blip r:embed="rId6"/>
            <a:stretch>
              <a:fillRect/>
            </a:stretch>
          </a:blipFill>
          <a:ln w="38100">
            <a:solidFill>
              <a:srgbClr val="003C3C"/>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Tx/>
              <a:buNone/>
              <a:defRPr lang="de-DE" sz="1400" kern="1200" cap="none" spc="40" baseline="0" noProof="0">
                <a:solidFill>
                  <a:schemeClr val="tx1"/>
                </a:solidFill>
                <a:latin typeface="+mj-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4">
                  <a:extLst>
                    <a:ext uri="{96DAC541-7B7A-43D3-8B79-37D633B846F1}">
                      <asvg:svgBlip xmlns:asvg="http://schemas.microsoft.com/office/drawing/2016/SVG/main" r:embed="rId5"/>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endParaRPr lang="en-US"/>
          </a:p>
        </p:txBody>
      </p:sp>
      <p:sp>
        <p:nvSpPr>
          <p:cNvPr id="34" name="Chart Placeholder 29">
            <a:extLst>
              <a:ext uri="{FF2B5EF4-FFF2-40B4-BE49-F238E27FC236}">
                <a16:creationId xmlns:a16="http://schemas.microsoft.com/office/drawing/2014/main" id="{115F846A-0EEF-1DC7-FEA4-55EA22770446}"/>
              </a:ext>
            </a:extLst>
          </p:cNvPr>
          <p:cNvSpPr txBox="1">
            <a:spLocks/>
          </p:cNvSpPr>
          <p:nvPr/>
        </p:nvSpPr>
        <p:spPr bwMode="gray">
          <a:xfrm>
            <a:off x="9292730" y="3079703"/>
            <a:ext cx="2592461" cy="1626428"/>
          </a:xfrm>
          <a:prstGeom prst="rect">
            <a:avLst/>
          </a:prstGeom>
          <a:blipFill>
            <a:blip r:embed="rId7"/>
            <a:stretch>
              <a:fillRect/>
            </a:stretch>
          </a:blipFill>
          <a:ln w="38100">
            <a:solidFill>
              <a:srgbClr val="003C3C"/>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Tx/>
              <a:buNone/>
              <a:defRPr lang="de-DE" sz="1400" kern="1200" cap="none" spc="40" baseline="0" noProof="0">
                <a:solidFill>
                  <a:schemeClr val="tx1"/>
                </a:solidFill>
                <a:latin typeface="+mj-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4">
                  <a:extLst>
                    <a:ext uri="{96DAC541-7B7A-43D3-8B79-37D633B846F1}">
                      <asvg:svgBlip xmlns:asvg="http://schemas.microsoft.com/office/drawing/2016/SVG/main" r:embed="rId5"/>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endParaRPr lang="en-US"/>
          </a:p>
        </p:txBody>
      </p:sp>
      <p:sp>
        <p:nvSpPr>
          <p:cNvPr id="35" name="Chart Placeholder 32">
            <a:extLst>
              <a:ext uri="{FF2B5EF4-FFF2-40B4-BE49-F238E27FC236}">
                <a16:creationId xmlns:a16="http://schemas.microsoft.com/office/drawing/2014/main" id="{D89B1403-BC8F-8E9E-859F-55DAEB1CC1BC}"/>
              </a:ext>
            </a:extLst>
          </p:cNvPr>
          <p:cNvSpPr txBox="1">
            <a:spLocks/>
          </p:cNvSpPr>
          <p:nvPr/>
        </p:nvSpPr>
        <p:spPr bwMode="gray">
          <a:xfrm>
            <a:off x="5086801" y="1276431"/>
            <a:ext cx="2809875" cy="1669901"/>
          </a:xfrm>
          <a:prstGeom prst="rect">
            <a:avLst/>
          </a:prstGeom>
          <a:blipFill>
            <a:blip r:embed="rId8"/>
            <a:stretch>
              <a:fillRect/>
            </a:stretch>
          </a:blipFill>
          <a:ln w="38100">
            <a:solidFill>
              <a:srgbClr val="003C3C"/>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Tx/>
              <a:buNone/>
              <a:defRPr lang="de-DE" sz="1400" kern="1200" cap="none" spc="40" baseline="0" noProof="0">
                <a:solidFill>
                  <a:schemeClr val="tx1"/>
                </a:solidFill>
                <a:latin typeface="+mj-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4">
                  <a:extLst>
                    <a:ext uri="{96DAC541-7B7A-43D3-8B79-37D633B846F1}">
                      <asvg:svgBlip xmlns:asvg="http://schemas.microsoft.com/office/drawing/2016/SVG/main" r:embed="rId5"/>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endParaRPr lang="en-US"/>
          </a:p>
        </p:txBody>
      </p:sp>
      <p:sp>
        <p:nvSpPr>
          <p:cNvPr id="64" name="Chart Placeholder 27">
            <a:extLst>
              <a:ext uri="{FF2B5EF4-FFF2-40B4-BE49-F238E27FC236}">
                <a16:creationId xmlns:a16="http://schemas.microsoft.com/office/drawing/2014/main" id="{0AA03DB9-F320-FCF9-C2B3-B3426EA90D58}"/>
              </a:ext>
            </a:extLst>
          </p:cNvPr>
          <p:cNvSpPr txBox="1">
            <a:spLocks/>
          </p:cNvSpPr>
          <p:nvPr/>
        </p:nvSpPr>
        <p:spPr bwMode="gray">
          <a:xfrm>
            <a:off x="8382000" y="4943203"/>
            <a:ext cx="2809875" cy="1639128"/>
          </a:xfrm>
          <a:prstGeom prst="rect">
            <a:avLst/>
          </a:prstGeom>
          <a:blipFill>
            <a:blip r:embed="rId9"/>
            <a:stretch>
              <a:fillRect/>
            </a:stretch>
          </a:blipFill>
          <a:ln w="38100">
            <a:solidFill>
              <a:srgbClr val="003C3C"/>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Tx/>
              <a:buNone/>
              <a:defRPr lang="de-DE" sz="1400" kern="1200" cap="all" spc="40" baseline="0" noProof="0">
                <a:solidFill>
                  <a:schemeClr val="tx1"/>
                </a:solidFill>
                <a:latin typeface="+mj-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4">
                  <a:extLst>
                    <a:ext uri="{96DAC541-7B7A-43D3-8B79-37D633B846F1}">
                      <asvg:svgBlip xmlns:asvg="http://schemas.microsoft.com/office/drawing/2016/SVG/main" r:embed="rId5"/>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endParaRPr lang="en-US" dirty="0"/>
          </a:p>
        </p:txBody>
      </p:sp>
      <p:pic>
        <p:nvPicPr>
          <p:cNvPr id="65" name="Picture 64">
            <a:extLst>
              <a:ext uri="{FF2B5EF4-FFF2-40B4-BE49-F238E27FC236}">
                <a16:creationId xmlns:a16="http://schemas.microsoft.com/office/drawing/2014/main" id="{6B23D7BD-CA3C-8839-EAD1-D5D5077AAC5D}"/>
              </a:ext>
            </a:extLst>
          </p:cNvPr>
          <p:cNvPicPr>
            <a:picLocks noChangeAspect="1"/>
          </p:cNvPicPr>
          <p:nvPr/>
        </p:nvPicPr>
        <p:blipFill>
          <a:blip r:embed="rId10"/>
          <a:stretch>
            <a:fillRect/>
          </a:stretch>
        </p:blipFill>
        <p:spPr>
          <a:xfrm>
            <a:off x="5086801" y="4858872"/>
            <a:ext cx="2804403" cy="1627773"/>
          </a:xfrm>
          <a:prstGeom prst="rect">
            <a:avLst/>
          </a:prstGeom>
          <a:ln w="38100">
            <a:solidFill>
              <a:srgbClr val="003C3C"/>
            </a:solidFill>
          </a:ln>
        </p:spPr>
      </p:pic>
      <p:sp>
        <p:nvSpPr>
          <p:cNvPr id="69" name="TextBox 68">
            <a:extLst>
              <a:ext uri="{FF2B5EF4-FFF2-40B4-BE49-F238E27FC236}">
                <a16:creationId xmlns:a16="http://schemas.microsoft.com/office/drawing/2014/main" id="{5F663868-3F42-9071-7457-FA48EBC3A26D}"/>
              </a:ext>
            </a:extLst>
          </p:cNvPr>
          <p:cNvSpPr txBox="1"/>
          <p:nvPr/>
        </p:nvSpPr>
        <p:spPr>
          <a:xfrm>
            <a:off x="406730" y="1466853"/>
            <a:ext cx="3560337" cy="4801314"/>
          </a:xfrm>
          <a:prstGeom prst="rect">
            <a:avLst/>
          </a:prstGeom>
          <a:solidFill>
            <a:schemeClr val="bg1"/>
          </a:solidFill>
          <a:ln w="38100">
            <a:solidFill>
              <a:srgbClr val="003C3C"/>
            </a:solidFill>
          </a:ln>
        </p:spPr>
        <p:txBody>
          <a:bodyPr wrap="square">
            <a:spAutoFit/>
          </a:bodyPr>
          <a:lstStyle/>
          <a:p>
            <a:r>
              <a:rPr lang="en-US" b="1" dirty="0"/>
              <a:t>Why Unity?</a:t>
            </a:r>
            <a:br>
              <a:rPr lang="en-US" dirty="0"/>
            </a:br>
            <a:r>
              <a:rPr lang="en-US" dirty="0">
                <a:solidFill>
                  <a:srgbClr val="003C3C"/>
                </a:solidFill>
              </a:rPr>
              <a:t>Unity is one of the most popular game engines in the world—it’s powerful, flexible, and, best of all, approachable for beginners. </a:t>
            </a:r>
          </a:p>
          <a:p>
            <a:endParaRPr lang="en-US" dirty="0">
              <a:solidFill>
                <a:srgbClr val="003C3C"/>
              </a:solidFill>
            </a:endParaRPr>
          </a:p>
          <a:p>
            <a:r>
              <a:rPr lang="en-US" dirty="0">
                <a:solidFill>
                  <a:srgbClr val="003C3C"/>
                </a:solidFill>
              </a:rPr>
              <a:t>In Unity, you can create all sorts of games, from 2D platformers to immersive 3D experiences. </a:t>
            </a:r>
          </a:p>
          <a:p>
            <a:endParaRPr lang="en-US" dirty="0">
              <a:solidFill>
                <a:srgbClr val="003C3C"/>
              </a:solidFill>
            </a:endParaRPr>
          </a:p>
          <a:p>
            <a:r>
              <a:rPr lang="en-US" dirty="0">
                <a:solidFill>
                  <a:srgbClr val="003C3C"/>
                </a:solidFill>
              </a:rPr>
              <a:t>And thanks to .NET and C#, Unity has a strong backbone for logic, structure, and interaction. </a:t>
            </a:r>
          </a:p>
          <a:p>
            <a:endParaRPr lang="en-US" dirty="0">
              <a:solidFill>
                <a:srgbClr val="003C3C"/>
              </a:solidFill>
            </a:endParaRPr>
          </a:p>
          <a:p>
            <a:r>
              <a:rPr lang="en-US" dirty="0">
                <a:solidFill>
                  <a:srgbClr val="003C3C"/>
                </a:solidFill>
              </a:rPr>
              <a:t>Create community with complete documentation and support with years of experience</a:t>
            </a:r>
            <a:endParaRPr lang="en-US" dirty="0"/>
          </a:p>
        </p:txBody>
      </p:sp>
      <p:pic>
        <p:nvPicPr>
          <p:cNvPr id="73" name="Picture 72" descr="A black background with a black square&#10;&#10;Description automatically generated with medium confidence">
            <a:extLst>
              <a:ext uri="{FF2B5EF4-FFF2-40B4-BE49-F238E27FC236}">
                <a16:creationId xmlns:a16="http://schemas.microsoft.com/office/drawing/2014/main" id="{ADCBF278-B1FC-B848-4DD4-434E1CCA8217}"/>
              </a:ext>
            </a:extLst>
          </p:cNvPr>
          <p:cNvPicPr>
            <a:picLocks noChangeAspect="1"/>
          </p:cNvPicPr>
          <p:nvPr/>
        </p:nvPicPr>
        <p:blipFill>
          <a:blip r:embed="rId11"/>
          <a:stretch>
            <a:fillRect/>
          </a:stretch>
        </p:blipFill>
        <p:spPr>
          <a:xfrm>
            <a:off x="6950094" y="3413153"/>
            <a:ext cx="2489293" cy="908715"/>
          </a:xfrm>
          <a:prstGeom prst="rect">
            <a:avLst/>
          </a:prstGeom>
        </p:spPr>
      </p:pic>
    </p:spTree>
    <p:extLst>
      <p:ext uri="{BB962C8B-B14F-4D97-AF65-F5344CB8AC3E}">
        <p14:creationId xmlns:p14="http://schemas.microsoft.com/office/powerpoint/2010/main" val="1178411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8DA6F26-4441-A887-436B-AD5425084DB8}"/>
              </a:ext>
            </a:extLst>
          </p:cNvPr>
          <p:cNvSpPr>
            <a:spLocks noGrp="1"/>
          </p:cNvSpPr>
          <p:nvPr>
            <p:ph type="body" sz="quarter" idx="23"/>
          </p:nvPr>
        </p:nvSpPr>
        <p:spPr>
          <a:xfrm>
            <a:off x="514800" y="1376914"/>
            <a:ext cx="2700000" cy="680486"/>
          </a:xfrm>
        </p:spPr>
        <p:txBody>
          <a:bodyPr/>
          <a:lstStyle/>
          <a:p>
            <a:r>
              <a:rPr lang="en-US" b="1" dirty="0" err="1"/>
              <a:t>GameObject</a:t>
            </a:r>
            <a:r>
              <a:rPr lang="en-US" dirty="0"/>
              <a:t> </a:t>
            </a:r>
          </a:p>
        </p:txBody>
      </p:sp>
      <p:sp>
        <p:nvSpPr>
          <p:cNvPr id="19" name="Content Placeholder 18">
            <a:extLst>
              <a:ext uri="{FF2B5EF4-FFF2-40B4-BE49-F238E27FC236}">
                <a16:creationId xmlns:a16="http://schemas.microsoft.com/office/drawing/2014/main" id="{CE591EDB-47B8-6A93-6054-7517E1B6F004}"/>
              </a:ext>
            </a:extLst>
          </p:cNvPr>
          <p:cNvSpPr>
            <a:spLocks noGrp="1"/>
          </p:cNvSpPr>
          <p:nvPr>
            <p:ph sz="quarter" idx="14"/>
          </p:nvPr>
        </p:nvSpPr>
        <p:spPr>
          <a:xfrm>
            <a:off x="3575050" y="1374314"/>
            <a:ext cx="4273550" cy="4464052"/>
          </a:xfrm>
        </p:spPr>
        <p:txBody>
          <a:bodyPr/>
          <a:lstStyle/>
          <a:p>
            <a:r>
              <a:rPr lang="en-US" dirty="0"/>
              <a:t>a Term you’ll hear often in Unity. </a:t>
            </a:r>
          </a:p>
          <a:p>
            <a:r>
              <a:rPr lang="en-US" dirty="0"/>
              <a:t>A </a:t>
            </a:r>
            <a:r>
              <a:rPr lang="en-US" b="1" i="1" dirty="0" err="1"/>
              <a:t>GameObject</a:t>
            </a:r>
            <a:r>
              <a:rPr lang="en-US" dirty="0"/>
              <a:t> is basically anything </a:t>
            </a:r>
          </a:p>
          <a:p>
            <a:r>
              <a:rPr lang="en-US" dirty="0"/>
              <a:t>that appears in your game</a:t>
            </a:r>
          </a:p>
          <a:p>
            <a:r>
              <a:rPr lang="en-US" dirty="0"/>
              <a:t>—like a player character, a tree, or even the </a:t>
            </a:r>
          </a:p>
          <a:p>
            <a:r>
              <a:rPr lang="en-US" dirty="0"/>
              <a:t>ground they walk on. </a:t>
            </a:r>
          </a:p>
          <a:p>
            <a:endParaRPr lang="en-US" dirty="0"/>
          </a:p>
          <a:p>
            <a:r>
              <a:rPr lang="en-US" b="1" dirty="0" err="1"/>
              <a:t>GameObjects</a:t>
            </a:r>
            <a:r>
              <a:rPr lang="en-US" dirty="0"/>
              <a:t> are the building blocks of a </a:t>
            </a:r>
          </a:p>
          <a:p>
            <a:r>
              <a:rPr lang="en-US" dirty="0"/>
              <a:t>Unity game.</a:t>
            </a:r>
          </a:p>
          <a:p>
            <a:endParaRPr lang="en-US" dirty="0"/>
          </a:p>
          <a:p>
            <a:r>
              <a:rPr lang="en-US" dirty="0"/>
              <a:t>But </a:t>
            </a:r>
            <a:r>
              <a:rPr lang="en-US" b="1" dirty="0" err="1"/>
              <a:t>GameObjects</a:t>
            </a:r>
            <a:r>
              <a:rPr lang="en-US" dirty="0"/>
              <a:t> on their own don’t do much. </a:t>
            </a:r>
          </a:p>
          <a:p>
            <a:r>
              <a:rPr lang="en-US" dirty="0"/>
              <a:t>You have to add </a:t>
            </a:r>
            <a:r>
              <a:rPr lang="en-US" i="1" dirty="0"/>
              <a:t>components</a:t>
            </a:r>
            <a:r>
              <a:rPr lang="en-US" dirty="0"/>
              <a:t> to them to </a:t>
            </a:r>
          </a:p>
          <a:p>
            <a:r>
              <a:rPr lang="en-US" dirty="0"/>
              <a:t>give them behaviors, like movement or color.</a:t>
            </a:r>
          </a:p>
          <a:p>
            <a:endParaRPr lang="en-US" dirty="0"/>
          </a:p>
        </p:txBody>
      </p:sp>
      <p:sp>
        <p:nvSpPr>
          <p:cNvPr id="6" name="Slide Number Placeholder 5">
            <a:extLst>
              <a:ext uri="{FF2B5EF4-FFF2-40B4-BE49-F238E27FC236}">
                <a16:creationId xmlns:a16="http://schemas.microsoft.com/office/drawing/2014/main" id="{117B6D2B-1008-63E8-F808-0E5A267A7458}"/>
              </a:ext>
            </a:extLst>
          </p:cNvPr>
          <p:cNvSpPr>
            <a:spLocks noGrp="1"/>
          </p:cNvSpPr>
          <p:nvPr>
            <p:ph type="sldNum" sz="quarter" idx="12"/>
          </p:nvPr>
        </p:nvSpPr>
        <p:spPr/>
        <p:txBody>
          <a:bodyPr/>
          <a:lstStyle/>
          <a:p>
            <a:fld id="{898D279D-9EEE-4375-932F-276CB614E9A4}" type="slidenum">
              <a:rPr lang="de-DE" smtClean="0"/>
              <a:t>7</a:t>
            </a:fld>
            <a:endParaRPr lang="de-DE" dirty="0"/>
          </a:p>
        </p:txBody>
      </p:sp>
      <p:sp>
        <p:nvSpPr>
          <p:cNvPr id="18" name="Title 17">
            <a:extLst>
              <a:ext uri="{FF2B5EF4-FFF2-40B4-BE49-F238E27FC236}">
                <a16:creationId xmlns:a16="http://schemas.microsoft.com/office/drawing/2014/main" id="{59F2A409-BDCD-77C3-E7A9-BD4D03FABCBB}"/>
              </a:ext>
            </a:extLst>
          </p:cNvPr>
          <p:cNvSpPr>
            <a:spLocks noGrp="1"/>
          </p:cNvSpPr>
          <p:nvPr>
            <p:ph type="title"/>
          </p:nvPr>
        </p:nvSpPr>
        <p:spPr/>
        <p:txBody>
          <a:bodyPr/>
          <a:lstStyle/>
          <a:p>
            <a:r>
              <a:rPr lang="en-US" sz="3200" dirty="0"/>
              <a:t>Part 2: Unity Basics and Core Concepts</a:t>
            </a:r>
            <a:br>
              <a:rPr lang="en-US" sz="2800" dirty="0"/>
            </a:br>
            <a:endParaRPr lang="en-US" dirty="0"/>
          </a:p>
        </p:txBody>
      </p:sp>
      <p:sp>
        <p:nvSpPr>
          <p:cNvPr id="21" name="Text Placeholder 19">
            <a:extLst>
              <a:ext uri="{FF2B5EF4-FFF2-40B4-BE49-F238E27FC236}">
                <a16:creationId xmlns:a16="http://schemas.microsoft.com/office/drawing/2014/main" id="{286887C6-F676-1089-7321-138F9FB572F6}"/>
              </a:ext>
            </a:extLst>
          </p:cNvPr>
          <p:cNvSpPr txBox="1">
            <a:spLocks/>
          </p:cNvSpPr>
          <p:nvPr/>
        </p:nvSpPr>
        <p:spPr bwMode="gray">
          <a:xfrm>
            <a:off x="524582" y="2234508"/>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Components</a:t>
            </a:r>
            <a:endParaRPr lang="en-US" dirty="0"/>
          </a:p>
        </p:txBody>
      </p:sp>
      <p:sp>
        <p:nvSpPr>
          <p:cNvPr id="22" name="Text Placeholder 19">
            <a:extLst>
              <a:ext uri="{FF2B5EF4-FFF2-40B4-BE49-F238E27FC236}">
                <a16:creationId xmlns:a16="http://schemas.microsoft.com/office/drawing/2014/main" id="{716D4EF6-E77D-0713-6E15-1D44A2E7CAE8}"/>
              </a:ext>
            </a:extLst>
          </p:cNvPr>
          <p:cNvSpPr txBox="1">
            <a:spLocks/>
          </p:cNvSpPr>
          <p:nvPr/>
        </p:nvSpPr>
        <p:spPr bwMode="gray">
          <a:xfrm>
            <a:off x="524582" y="3126255"/>
            <a:ext cx="2709782"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enes, Game View, Inspector</a:t>
            </a:r>
            <a:endParaRPr lang="en-US" dirty="0"/>
          </a:p>
        </p:txBody>
      </p:sp>
      <p:sp>
        <p:nvSpPr>
          <p:cNvPr id="23" name="Text Placeholder 19">
            <a:extLst>
              <a:ext uri="{FF2B5EF4-FFF2-40B4-BE49-F238E27FC236}">
                <a16:creationId xmlns:a16="http://schemas.microsoft.com/office/drawing/2014/main" id="{A4681C80-F40D-8CEF-65D2-A48E274F64F9}"/>
              </a:ext>
            </a:extLst>
          </p:cNvPr>
          <p:cNvSpPr txBox="1">
            <a:spLocks/>
          </p:cNvSpPr>
          <p:nvPr/>
        </p:nvSpPr>
        <p:spPr bwMode="gray">
          <a:xfrm>
            <a:off x="514800" y="4018002"/>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Prefabs</a:t>
            </a:r>
            <a:endParaRPr lang="en-US" dirty="0"/>
          </a:p>
        </p:txBody>
      </p:sp>
      <p:sp>
        <p:nvSpPr>
          <p:cNvPr id="28" name="TextBox 27">
            <a:extLst>
              <a:ext uri="{FF2B5EF4-FFF2-40B4-BE49-F238E27FC236}">
                <a16:creationId xmlns:a16="http://schemas.microsoft.com/office/drawing/2014/main" id="{1D301AF8-3BF8-0356-908C-FD2BD62B9ADE}"/>
              </a:ext>
            </a:extLst>
          </p:cNvPr>
          <p:cNvSpPr txBox="1"/>
          <p:nvPr/>
        </p:nvSpPr>
        <p:spPr>
          <a:xfrm>
            <a:off x="404380" y="6091793"/>
            <a:ext cx="6096000" cy="369332"/>
          </a:xfrm>
          <a:prstGeom prst="rect">
            <a:avLst/>
          </a:prstGeom>
          <a:noFill/>
        </p:spPr>
        <p:txBody>
          <a:bodyPr wrap="square">
            <a:spAutoFit/>
          </a:bodyPr>
          <a:lstStyle/>
          <a:p>
            <a:r>
              <a:rPr lang="en-US" dirty="0"/>
              <a:t>https://docs.unity3d.com/Manual/</a:t>
            </a:r>
          </a:p>
        </p:txBody>
      </p:sp>
      <p:pic>
        <p:nvPicPr>
          <p:cNvPr id="30" name="Picture 29" descr="A diagram of a cube&#10;&#10;Description automatically generated">
            <a:extLst>
              <a:ext uri="{FF2B5EF4-FFF2-40B4-BE49-F238E27FC236}">
                <a16:creationId xmlns:a16="http://schemas.microsoft.com/office/drawing/2014/main" id="{330E4603-43BE-8F81-EA4E-1F9FD44A1B93}"/>
              </a:ext>
            </a:extLst>
          </p:cNvPr>
          <p:cNvPicPr>
            <a:picLocks noChangeAspect="1"/>
          </p:cNvPicPr>
          <p:nvPr/>
        </p:nvPicPr>
        <p:blipFill>
          <a:blip r:embed="rId5"/>
          <a:stretch>
            <a:fillRect/>
          </a:stretch>
        </p:blipFill>
        <p:spPr>
          <a:xfrm>
            <a:off x="7964482" y="1389670"/>
            <a:ext cx="3886200" cy="3886200"/>
          </a:xfrm>
          <a:prstGeom prst="rect">
            <a:avLst/>
          </a:prstGeom>
          <a:ln w="38100">
            <a:solidFill>
              <a:srgbClr val="003C3C"/>
            </a:solidFill>
          </a:ln>
        </p:spPr>
      </p:pic>
      <p:sp>
        <p:nvSpPr>
          <p:cNvPr id="31" name="Text Placeholder 19">
            <a:extLst>
              <a:ext uri="{FF2B5EF4-FFF2-40B4-BE49-F238E27FC236}">
                <a16:creationId xmlns:a16="http://schemas.microsoft.com/office/drawing/2014/main" id="{6EC25B19-1188-E658-C41C-0A4786EAC007}"/>
              </a:ext>
            </a:extLst>
          </p:cNvPr>
          <p:cNvSpPr txBox="1">
            <a:spLocks/>
          </p:cNvSpPr>
          <p:nvPr/>
        </p:nvSpPr>
        <p:spPr bwMode="gray">
          <a:xfrm>
            <a:off x="519418" y="4909749"/>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ripts</a:t>
            </a:r>
            <a:endParaRPr lang="en-US" dirty="0"/>
          </a:p>
        </p:txBody>
      </p:sp>
    </p:spTree>
    <p:extLst>
      <p:ext uri="{BB962C8B-B14F-4D97-AF65-F5344CB8AC3E}">
        <p14:creationId xmlns:p14="http://schemas.microsoft.com/office/powerpoint/2010/main" val="2067681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8603F-8762-59BD-E6F5-A677B4D175AD}"/>
            </a:ext>
          </a:extLst>
        </p:cNvPr>
        <p:cNvGrpSpPr/>
        <p:nvPr/>
      </p:nvGrpSpPr>
      <p:grpSpPr>
        <a:xfrm>
          <a:off x="0" y="0"/>
          <a:ext cx="0" cy="0"/>
          <a:chOff x="0" y="0"/>
          <a:chExt cx="0" cy="0"/>
        </a:xfrm>
      </p:grpSpPr>
      <p:sp>
        <p:nvSpPr>
          <p:cNvPr id="20" name="Text Placeholder 19">
            <a:extLst>
              <a:ext uri="{FF2B5EF4-FFF2-40B4-BE49-F238E27FC236}">
                <a16:creationId xmlns:a16="http://schemas.microsoft.com/office/drawing/2014/main" id="{C859F740-734A-A633-22A3-BB2F0A2713DB}"/>
              </a:ext>
            </a:extLst>
          </p:cNvPr>
          <p:cNvSpPr>
            <a:spLocks noGrp="1"/>
          </p:cNvSpPr>
          <p:nvPr>
            <p:ph type="body" sz="quarter" idx="23"/>
          </p:nvPr>
        </p:nvSpPr>
        <p:spPr>
          <a:xfrm>
            <a:off x="514800" y="1376914"/>
            <a:ext cx="2700000" cy="680486"/>
          </a:xfrm>
          <a:solidFill>
            <a:srgbClr val="46FFB1"/>
          </a:solidFill>
        </p:spPr>
        <p:txBody>
          <a:bodyPr/>
          <a:lstStyle/>
          <a:p>
            <a:r>
              <a:rPr lang="en-US" b="1" dirty="0" err="1"/>
              <a:t>GameObject</a:t>
            </a:r>
            <a:r>
              <a:rPr lang="en-US" dirty="0"/>
              <a:t> </a:t>
            </a:r>
          </a:p>
        </p:txBody>
      </p:sp>
      <p:sp>
        <p:nvSpPr>
          <p:cNvPr id="19" name="Content Placeholder 18">
            <a:extLst>
              <a:ext uri="{FF2B5EF4-FFF2-40B4-BE49-F238E27FC236}">
                <a16:creationId xmlns:a16="http://schemas.microsoft.com/office/drawing/2014/main" id="{77B382C4-65B0-A7EB-2147-6051F27901B8}"/>
              </a:ext>
            </a:extLst>
          </p:cNvPr>
          <p:cNvSpPr>
            <a:spLocks noGrp="1"/>
          </p:cNvSpPr>
          <p:nvPr>
            <p:ph sz="quarter" idx="14"/>
          </p:nvPr>
        </p:nvSpPr>
        <p:spPr>
          <a:xfrm>
            <a:off x="3575050" y="1374314"/>
            <a:ext cx="4273550" cy="4464052"/>
          </a:xfrm>
        </p:spPr>
        <p:txBody>
          <a:bodyPr/>
          <a:lstStyle/>
          <a:p>
            <a:r>
              <a:rPr lang="en-US" b="1" dirty="0"/>
              <a:t>Components</a:t>
            </a:r>
            <a:r>
              <a:rPr lang="en-US" dirty="0"/>
              <a:t>: Components are like building blocks for </a:t>
            </a:r>
            <a:r>
              <a:rPr lang="en-US" dirty="0" err="1"/>
              <a:t>GameObjects</a:t>
            </a:r>
            <a:r>
              <a:rPr lang="en-US" dirty="0"/>
              <a:t>. They add functionality to </a:t>
            </a:r>
            <a:r>
              <a:rPr lang="en-US" dirty="0" err="1"/>
              <a:t>GameObjects</a:t>
            </a:r>
            <a:r>
              <a:rPr lang="en-US" dirty="0"/>
              <a:t>. For instance:</a:t>
            </a:r>
          </a:p>
          <a:p>
            <a:endParaRPr lang="en-US" dirty="0"/>
          </a:p>
          <a:p>
            <a:r>
              <a:rPr lang="en-US" b="1" dirty="0" err="1"/>
              <a:t>Rigidbody</a:t>
            </a:r>
            <a:r>
              <a:rPr lang="en-US" dirty="0"/>
              <a:t>: This component adds physics, like gravity, to a </a:t>
            </a:r>
            <a:r>
              <a:rPr lang="en-US" dirty="0" err="1"/>
              <a:t>GameObject</a:t>
            </a:r>
            <a:r>
              <a:rPr lang="en-US" dirty="0"/>
              <a:t>.</a:t>
            </a:r>
          </a:p>
          <a:p>
            <a:endParaRPr lang="en-US" dirty="0"/>
          </a:p>
          <a:p>
            <a:r>
              <a:rPr lang="en-US" b="1" dirty="0"/>
              <a:t>Collider</a:t>
            </a:r>
            <a:r>
              <a:rPr lang="en-US" dirty="0"/>
              <a:t>: This component lets a </a:t>
            </a:r>
            <a:r>
              <a:rPr lang="en-US" dirty="0" err="1"/>
              <a:t>GameObject</a:t>
            </a:r>
            <a:r>
              <a:rPr lang="en-US" dirty="0"/>
              <a:t> detect and respond to collisions. For example, if a character runs into a wall, a Collider can stop them from going through it. </a:t>
            </a:r>
          </a:p>
          <a:p>
            <a:r>
              <a:rPr lang="en-US" dirty="0"/>
              <a:t>Think hitboxes for players</a:t>
            </a:r>
          </a:p>
          <a:p>
            <a:endParaRPr lang="en-US" dirty="0"/>
          </a:p>
          <a:p>
            <a:r>
              <a:rPr lang="en-US" b="1" dirty="0"/>
              <a:t>Transform</a:t>
            </a:r>
            <a:r>
              <a:rPr lang="en-US" dirty="0"/>
              <a:t>: This component </a:t>
            </a:r>
            <a:r>
              <a:rPr lang="en-US" b="0" i="0" dirty="0">
                <a:solidFill>
                  <a:srgbClr val="040C28"/>
                </a:solidFill>
                <a:effectLst/>
                <a:latin typeface="Google Sans"/>
              </a:rPr>
              <a:t>determines the Position, Rotation, and Scale of each object in the scene</a:t>
            </a:r>
            <a:endParaRPr lang="en-US" dirty="0"/>
          </a:p>
        </p:txBody>
      </p:sp>
      <p:sp>
        <p:nvSpPr>
          <p:cNvPr id="6" name="Slide Number Placeholder 5">
            <a:extLst>
              <a:ext uri="{FF2B5EF4-FFF2-40B4-BE49-F238E27FC236}">
                <a16:creationId xmlns:a16="http://schemas.microsoft.com/office/drawing/2014/main" id="{73D9EE00-3C9D-3D29-6EF2-0907AA6DDD64}"/>
              </a:ext>
            </a:extLst>
          </p:cNvPr>
          <p:cNvSpPr>
            <a:spLocks noGrp="1"/>
          </p:cNvSpPr>
          <p:nvPr>
            <p:ph type="sldNum" sz="quarter" idx="12"/>
          </p:nvPr>
        </p:nvSpPr>
        <p:spPr/>
        <p:txBody>
          <a:bodyPr/>
          <a:lstStyle/>
          <a:p>
            <a:fld id="{898D279D-9EEE-4375-932F-276CB614E9A4}" type="slidenum">
              <a:rPr lang="de-DE" smtClean="0"/>
              <a:t>8</a:t>
            </a:fld>
            <a:endParaRPr lang="de-DE" dirty="0"/>
          </a:p>
        </p:txBody>
      </p:sp>
      <p:sp>
        <p:nvSpPr>
          <p:cNvPr id="18" name="Title 17">
            <a:extLst>
              <a:ext uri="{FF2B5EF4-FFF2-40B4-BE49-F238E27FC236}">
                <a16:creationId xmlns:a16="http://schemas.microsoft.com/office/drawing/2014/main" id="{6D640E99-3509-DCC3-6FCD-BE36C230F6AD}"/>
              </a:ext>
            </a:extLst>
          </p:cNvPr>
          <p:cNvSpPr>
            <a:spLocks noGrp="1"/>
          </p:cNvSpPr>
          <p:nvPr>
            <p:ph type="title"/>
          </p:nvPr>
        </p:nvSpPr>
        <p:spPr/>
        <p:txBody>
          <a:bodyPr/>
          <a:lstStyle/>
          <a:p>
            <a:r>
              <a:rPr lang="en-US" sz="3200" dirty="0"/>
              <a:t>Part 2: Unity Basics and Core Concepts</a:t>
            </a:r>
            <a:br>
              <a:rPr lang="en-US" sz="2800" dirty="0"/>
            </a:br>
            <a:endParaRPr lang="en-US" dirty="0"/>
          </a:p>
        </p:txBody>
      </p:sp>
      <p:sp>
        <p:nvSpPr>
          <p:cNvPr id="21" name="Text Placeholder 19">
            <a:extLst>
              <a:ext uri="{FF2B5EF4-FFF2-40B4-BE49-F238E27FC236}">
                <a16:creationId xmlns:a16="http://schemas.microsoft.com/office/drawing/2014/main" id="{EEF792FD-A860-C693-C05B-B5F6B74B7ECE}"/>
              </a:ext>
            </a:extLst>
          </p:cNvPr>
          <p:cNvSpPr txBox="1">
            <a:spLocks/>
          </p:cNvSpPr>
          <p:nvPr/>
        </p:nvSpPr>
        <p:spPr bwMode="gray">
          <a:xfrm>
            <a:off x="524582" y="2234508"/>
            <a:ext cx="2700000" cy="680486"/>
          </a:xfrm>
          <a:prstGeom prst="homePlate">
            <a:avLst>
              <a:gd name="adj" fmla="val 27582"/>
            </a:avLst>
          </a:prstGeom>
          <a:solidFill>
            <a:schemeClr val="tx2"/>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Components</a:t>
            </a:r>
            <a:endParaRPr lang="en-US" dirty="0"/>
          </a:p>
        </p:txBody>
      </p:sp>
      <p:sp>
        <p:nvSpPr>
          <p:cNvPr id="22" name="Text Placeholder 19">
            <a:extLst>
              <a:ext uri="{FF2B5EF4-FFF2-40B4-BE49-F238E27FC236}">
                <a16:creationId xmlns:a16="http://schemas.microsoft.com/office/drawing/2014/main" id="{DE4EC3E2-E008-4017-564A-F2FA5EBAD9DB}"/>
              </a:ext>
            </a:extLst>
          </p:cNvPr>
          <p:cNvSpPr txBox="1">
            <a:spLocks/>
          </p:cNvSpPr>
          <p:nvPr/>
        </p:nvSpPr>
        <p:spPr bwMode="gray">
          <a:xfrm>
            <a:off x="524582" y="3126255"/>
            <a:ext cx="2709782"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enes, Game View, Inspector</a:t>
            </a:r>
            <a:endParaRPr lang="en-US" dirty="0"/>
          </a:p>
        </p:txBody>
      </p:sp>
      <p:sp>
        <p:nvSpPr>
          <p:cNvPr id="23" name="Text Placeholder 19">
            <a:extLst>
              <a:ext uri="{FF2B5EF4-FFF2-40B4-BE49-F238E27FC236}">
                <a16:creationId xmlns:a16="http://schemas.microsoft.com/office/drawing/2014/main" id="{A5935118-F4F7-3BC1-E676-B5AA2C7B7BF6}"/>
              </a:ext>
            </a:extLst>
          </p:cNvPr>
          <p:cNvSpPr txBox="1">
            <a:spLocks/>
          </p:cNvSpPr>
          <p:nvPr/>
        </p:nvSpPr>
        <p:spPr bwMode="gray">
          <a:xfrm>
            <a:off x="514800" y="4018002"/>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Prefabs</a:t>
            </a:r>
            <a:endParaRPr lang="en-US" dirty="0"/>
          </a:p>
        </p:txBody>
      </p:sp>
      <p:sp>
        <p:nvSpPr>
          <p:cNvPr id="28" name="TextBox 27">
            <a:extLst>
              <a:ext uri="{FF2B5EF4-FFF2-40B4-BE49-F238E27FC236}">
                <a16:creationId xmlns:a16="http://schemas.microsoft.com/office/drawing/2014/main" id="{38DE091D-76D3-50BF-F474-6E89FC41361D}"/>
              </a:ext>
            </a:extLst>
          </p:cNvPr>
          <p:cNvSpPr txBox="1"/>
          <p:nvPr/>
        </p:nvSpPr>
        <p:spPr>
          <a:xfrm>
            <a:off x="404380" y="6091793"/>
            <a:ext cx="6096000" cy="369332"/>
          </a:xfrm>
          <a:prstGeom prst="rect">
            <a:avLst/>
          </a:prstGeom>
          <a:noFill/>
        </p:spPr>
        <p:txBody>
          <a:bodyPr wrap="square">
            <a:spAutoFit/>
          </a:bodyPr>
          <a:lstStyle/>
          <a:p>
            <a:r>
              <a:rPr lang="en-US" dirty="0"/>
              <a:t>https://docs.unity3d.com/Manual/</a:t>
            </a:r>
          </a:p>
        </p:txBody>
      </p:sp>
      <p:pic>
        <p:nvPicPr>
          <p:cNvPr id="30" name="Picture 29">
            <a:extLst>
              <a:ext uri="{FF2B5EF4-FFF2-40B4-BE49-F238E27FC236}">
                <a16:creationId xmlns:a16="http://schemas.microsoft.com/office/drawing/2014/main" id="{94CD5856-078B-3A9B-67E0-DC54BB41D485}"/>
              </a:ext>
            </a:extLst>
          </p:cNvPr>
          <p:cNvPicPr>
            <a:picLocks noChangeAspect="1"/>
          </p:cNvPicPr>
          <p:nvPr/>
        </p:nvPicPr>
        <p:blipFill>
          <a:blip r:embed="rId5"/>
          <a:srcRect/>
          <a:stretch/>
        </p:blipFill>
        <p:spPr>
          <a:xfrm>
            <a:off x="7964482" y="1389670"/>
            <a:ext cx="3886200" cy="3886200"/>
          </a:xfrm>
          <a:prstGeom prst="rect">
            <a:avLst/>
          </a:prstGeom>
          <a:ln w="38100">
            <a:solidFill>
              <a:srgbClr val="003C3C"/>
            </a:solidFill>
          </a:ln>
        </p:spPr>
      </p:pic>
      <p:sp>
        <p:nvSpPr>
          <p:cNvPr id="31" name="Text Placeholder 19">
            <a:extLst>
              <a:ext uri="{FF2B5EF4-FFF2-40B4-BE49-F238E27FC236}">
                <a16:creationId xmlns:a16="http://schemas.microsoft.com/office/drawing/2014/main" id="{7A5AA9F2-5C12-1ACE-292F-B29A677F2839}"/>
              </a:ext>
            </a:extLst>
          </p:cNvPr>
          <p:cNvSpPr txBox="1">
            <a:spLocks/>
          </p:cNvSpPr>
          <p:nvPr/>
        </p:nvSpPr>
        <p:spPr bwMode="gray">
          <a:xfrm>
            <a:off x="519418" y="4909749"/>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ripts</a:t>
            </a:r>
            <a:endParaRPr lang="en-US" dirty="0"/>
          </a:p>
        </p:txBody>
      </p:sp>
    </p:spTree>
    <p:extLst>
      <p:ext uri="{BB962C8B-B14F-4D97-AF65-F5344CB8AC3E}">
        <p14:creationId xmlns:p14="http://schemas.microsoft.com/office/powerpoint/2010/main" val="2564653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CE28C-734D-8E9C-A044-2C18DE36A859}"/>
            </a:ext>
          </a:extLst>
        </p:cNvPr>
        <p:cNvGrpSpPr/>
        <p:nvPr/>
      </p:nvGrpSpPr>
      <p:grpSpPr>
        <a:xfrm>
          <a:off x="0" y="0"/>
          <a:ext cx="0" cy="0"/>
          <a:chOff x="0" y="0"/>
          <a:chExt cx="0" cy="0"/>
        </a:xfrm>
      </p:grpSpPr>
      <p:sp>
        <p:nvSpPr>
          <p:cNvPr id="20" name="Text Placeholder 19">
            <a:extLst>
              <a:ext uri="{FF2B5EF4-FFF2-40B4-BE49-F238E27FC236}">
                <a16:creationId xmlns:a16="http://schemas.microsoft.com/office/drawing/2014/main" id="{FA8E771B-DD4E-D526-D37D-E589020D39DF}"/>
              </a:ext>
            </a:extLst>
          </p:cNvPr>
          <p:cNvSpPr>
            <a:spLocks noGrp="1"/>
          </p:cNvSpPr>
          <p:nvPr>
            <p:ph type="body" sz="quarter" idx="23"/>
          </p:nvPr>
        </p:nvSpPr>
        <p:spPr>
          <a:xfrm>
            <a:off x="514800" y="1376914"/>
            <a:ext cx="2700000" cy="680486"/>
          </a:xfrm>
          <a:solidFill>
            <a:srgbClr val="46FFB1"/>
          </a:solidFill>
        </p:spPr>
        <p:txBody>
          <a:bodyPr/>
          <a:lstStyle/>
          <a:p>
            <a:r>
              <a:rPr lang="en-US" b="1" dirty="0" err="1"/>
              <a:t>GameObject</a:t>
            </a:r>
            <a:r>
              <a:rPr lang="en-US" dirty="0"/>
              <a:t> </a:t>
            </a:r>
          </a:p>
        </p:txBody>
      </p:sp>
      <p:sp>
        <p:nvSpPr>
          <p:cNvPr id="19" name="Content Placeholder 18">
            <a:extLst>
              <a:ext uri="{FF2B5EF4-FFF2-40B4-BE49-F238E27FC236}">
                <a16:creationId xmlns:a16="http://schemas.microsoft.com/office/drawing/2014/main" id="{B0CB3445-724F-FA5E-0E12-D96D50D93A11}"/>
              </a:ext>
            </a:extLst>
          </p:cNvPr>
          <p:cNvSpPr>
            <a:spLocks noGrp="1"/>
          </p:cNvSpPr>
          <p:nvPr>
            <p:ph sz="quarter" idx="14"/>
          </p:nvPr>
        </p:nvSpPr>
        <p:spPr>
          <a:xfrm>
            <a:off x="3575050" y="1374314"/>
            <a:ext cx="4273550" cy="4464052"/>
          </a:xfrm>
        </p:spPr>
        <p:txBody>
          <a:bodyPr/>
          <a:lstStyle/>
          <a:p>
            <a:r>
              <a:rPr lang="en-US" b="1" dirty="0"/>
              <a:t>Scene</a:t>
            </a:r>
            <a:r>
              <a:rPr lang="en-US" dirty="0"/>
              <a:t>: A Scene is like a level or area in your game. </a:t>
            </a:r>
          </a:p>
          <a:p>
            <a:r>
              <a:rPr lang="en-US" dirty="0"/>
              <a:t>You can think of it as a “space” where </a:t>
            </a:r>
            <a:r>
              <a:rPr lang="en-US" dirty="0" err="1"/>
              <a:t>GameObjects</a:t>
            </a:r>
            <a:r>
              <a:rPr lang="en-US" dirty="0"/>
              <a:t> exist. </a:t>
            </a:r>
          </a:p>
          <a:p>
            <a:r>
              <a:rPr lang="en-US" dirty="0"/>
              <a:t>A game can have multiple scenes—one for each level, for instance.</a:t>
            </a:r>
          </a:p>
          <a:p>
            <a:endParaRPr lang="en-US" dirty="0"/>
          </a:p>
          <a:p>
            <a:r>
              <a:rPr lang="en-US" b="1" dirty="0"/>
              <a:t>Scene View:</a:t>
            </a:r>
            <a:r>
              <a:rPr lang="en-US" dirty="0"/>
              <a:t> Is where you can manipulate the “level”.  You can also manipulate this during runtime but it will not save the state</a:t>
            </a:r>
          </a:p>
          <a:p>
            <a:endParaRPr lang="en-US" dirty="0"/>
          </a:p>
          <a:p>
            <a:r>
              <a:rPr lang="en-US" b="1" dirty="0"/>
              <a:t>Game View:</a:t>
            </a:r>
            <a:r>
              <a:rPr lang="en-US" dirty="0"/>
              <a:t> is where you see the game as it would appear to a player.  (Camera View)</a:t>
            </a:r>
          </a:p>
          <a:p>
            <a:endParaRPr lang="en-US" dirty="0"/>
          </a:p>
          <a:p>
            <a:r>
              <a:rPr lang="en-US" b="1" dirty="0"/>
              <a:t>Inspector:</a:t>
            </a:r>
            <a:r>
              <a:rPr lang="en-US" dirty="0"/>
              <a:t> panel lets you adjust settings for different elements in your game. </a:t>
            </a:r>
            <a:r>
              <a:rPr lang="en-US" b="1" dirty="0" err="1"/>
              <a:t>GameObjects</a:t>
            </a:r>
            <a:endParaRPr lang="en-US" b="1" dirty="0"/>
          </a:p>
        </p:txBody>
      </p:sp>
      <p:sp>
        <p:nvSpPr>
          <p:cNvPr id="6" name="Slide Number Placeholder 5">
            <a:extLst>
              <a:ext uri="{FF2B5EF4-FFF2-40B4-BE49-F238E27FC236}">
                <a16:creationId xmlns:a16="http://schemas.microsoft.com/office/drawing/2014/main" id="{164949F6-99A2-87CB-1746-5ED43D1CB7F6}"/>
              </a:ext>
            </a:extLst>
          </p:cNvPr>
          <p:cNvSpPr>
            <a:spLocks noGrp="1"/>
          </p:cNvSpPr>
          <p:nvPr>
            <p:ph type="sldNum" sz="quarter" idx="12"/>
          </p:nvPr>
        </p:nvSpPr>
        <p:spPr/>
        <p:txBody>
          <a:bodyPr/>
          <a:lstStyle/>
          <a:p>
            <a:fld id="{898D279D-9EEE-4375-932F-276CB614E9A4}" type="slidenum">
              <a:rPr lang="de-DE" smtClean="0"/>
              <a:t>9</a:t>
            </a:fld>
            <a:endParaRPr lang="de-DE" dirty="0"/>
          </a:p>
        </p:txBody>
      </p:sp>
      <p:sp>
        <p:nvSpPr>
          <p:cNvPr id="18" name="Title 17">
            <a:extLst>
              <a:ext uri="{FF2B5EF4-FFF2-40B4-BE49-F238E27FC236}">
                <a16:creationId xmlns:a16="http://schemas.microsoft.com/office/drawing/2014/main" id="{A6F2CA7D-FF51-C429-6DAD-5595FDAA4352}"/>
              </a:ext>
            </a:extLst>
          </p:cNvPr>
          <p:cNvSpPr>
            <a:spLocks noGrp="1"/>
          </p:cNvSpPr>
          <p:nvPr>
            <p:ph type="title"/>
          </p:nvPr>
        </p:nvSpPr>
        <p:spPr/>
        <p:txBody>
          <a:bodyPr/>
          <a:lstStyle/>
          <a:p>
            <a:r>
              <a:rPr lang="en-US" sz="3200" dirty="0"/>
              <a:t>Part 2: Unity Basics and Core Concepts</a:t>
            </a:r>
            <a:br>
              <a:rPr lang="en-US" sz="2800" dirty="0"/>
            </a:br>
            <a:endParaRPr lang="en-US" dirty="0"/>
          </a:p>
        </p:txBody>
      </p:sp>
      <p:sp>
        <p:nvSpPr>
          <p:cNvPr id="21" name="Text Placeholder 19">
            <a:extLst>
              <a:ext uri="{FF2B5EF4-FFF2-40B4-BE49-F238E27FC236}">
                <a16:creationId xmlns:a16="http://schemas.microsoft.com/office/drawing/2014/main" id="{01B09E33-6171-3E09-CA79-348BCB2BBEF9}"/>
              </a:ext>
            </a:extLst>
          </p:cNvPr>
          <p:cNvSpPr txBox="1">
            <a:spLocks/>
          </p:cNvSpPr>
          <p:nvPr/>
        </p:nvSpPr>
        <p:spPr bwMode="gray">
          <a:xfrm>
            <a:off x="524582" y="2234508"/>
            <a:ext cx="2700000" cy="680486"/>
          </a:xfrm>
          <a:prstGeom prst="homePlate">
            <a:avLst>
              <a:gd name="adj" fmla="val 27582"/>
            </a:avLst>
          </a:prstGeom>
          <a:solidFill>
            <a:srgbClr val="46FFB1"/>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Components</a:t>
            </a:r>
            <a:endParaRPr lang="en-US" dirty="0"/>
          </a:p>
        </p:txBody>
      </p:sp>
      <p:sp>
        <p:nvSpPr>
          <p:cNvPr id="22" name="Text Placeholder 19">
            <a:extLst>
              <a:ext uri="{FF2B5EF4-FFF2-40B4-BE49-F238E27FC236}">
                <a16:creationId xmlns:a16="http://schemas.microsoft.com/office/drawing/2014/main" id="{8014B6A2-CF04-22AD-6B84-904B170D48EC}"/>
              </a:ext>
            </a:extLst>
          </p:cNvPr>
          <p:cNvSpPr txBox="1">
            <a:spLocks/>
          </p:cNvSpPr>
          <p:nvPr/>
        </p:nvSpPr>
        <p:spPr bwMode="gray">
          <a:xfrm>
            <a:off x="524582" y="3126255"/>
            <a:ext cx="2709782" cy="680486"/>
          </a:xfrm>
          <a:prstGeom prst="homePlate">
            <a:avLst>
              <a:gd name="adj" fmla="val 27582"/>
            </a:avLst>
          </a:prstGeom>
          <a:solidFill>
            <a:schemeClr val="tx2"/>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enes, Game View, Inspector</a:t>
            </a:r>
            <a:endParaRPr lang="en-US" dirty="0"/>
          </a:p>
        </p:txBody>
      </p:sp>
      <p:sp>
        <p:nvSpPr>
          <p:cNvPr id="23" name="Text Placeholder 19">
            <a:extLst>
              <a:ext uri="{FF2B5EF4-FFF2-40B4-BE49-F238E27FC236}">
                <a16:creationId xmlns:a16="http://schemas.microsoft.com/office/drawing/2014/main" id="{B432BC15-D74D-B056-DDA8-708945C0BE52}"/>
              </a:ext>
            </a:extLst>
          </p:cNvPr>
          <p:cNvSpPr txBox="1">
            <a:spLocks/>
          </p:cNvSpPr>
          <p:nvPr/>
        </p:nvSpPr>
        <p:spPr bwMode="gray">
          <a:xfrm>
            <a:off x="514800" y="4018002"/>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Prefabs</a:t>
            </a:r>
            <a:endParaRPr lang="en-US" dirty="0"/>
          </a:p>
        </p:txBody>
      </p:sp>
      <p:sp>
        <p:nvSpPr>
          <p:cNvPr id="28" name="TextBox 27">
            <a:extLst>
              <a:ext uri="{FF2B5EF4-FFF2-40B4-BE49-F238E27FC236}">
                <a16:creationId xmlns:a16="http://schemas.microsoft.com/office/drawing/2014/main" id="{F8D823F6-B89E-B1DC-3E2D-A4DF94554944}"/>
              </a:ext>
            </a:extLst>
          </p:cNvPr>
          <p:cNvSpPr txBox="1"/>
          <p:nvPr/>
        </p:nvSpPr>
        <p:spPr>
          <a:xfrm>
            <a:off x="404380" y="6091793"/>
            <a:ext cx="6096000" cy="369332"/>
          </a:xfrm>
          <a:prstGeom prst="rect">
            <a:avLst/>
          </a:prstGeom>
          <a:noFill/>
        </p:spPr>
        <p:txBody>
          <a:bodyPr wrap="square">
            <a:spAutoFit/>
          </a:bodyPr>
          <a:lstStyle/>
          <a:p>
            <a:r>
              <a:rPr lang="en-US" dirty="0"/>
              <a:t>https://docs.unity3d.com/Manual/</a:t>
            </a:r>
          </a:p>
        </p:txBody>
      </p:sp>
      <p:pic>
        <p:nvPicPr>
          <p:cNvPr id="30" name="Picture 29">
            <a:extLst>
              <a:ext uri="{FF2B5EF4-FFF2-40B4-BE49-F238E27FC236}">
                <a16:creationId xmlns:a16="http://schemas.microsoft.com/office/drawing/2014/main" id="{EB945A68-6EF5-26C5-7EB3-52F9C2F95494}"/>
              </a:ext>
            </a:extLst>
          </p:cNvPr>
          <p:cNvPicPr>
            <a:picLocks noChangeAspect="1"/>
          </p:cNvPicPr>
          <p:nvPr/>
        </p:nvPicPr>
        <p:blipFill>
          <a:blip r:embed="rId5"/>
          <a:srcRect/>
          <a:stretch/>
        </p:blipFill>
        <p:spPr>
          <a:xfrm>
            <a:off x="7964482" y="1389670"/>
            <a:ext cx="3886200" cy="3886200"/>
          </a:xfrm>
          <a:prstGeom prst="rect">
            <a:avLst/>
          </a:prstGeom>
          <a:ln w="38100">
            <a:solidFill>
              <a:srgbClr val="003C3C"/>
            </a:solidFill>
          </a:ln>
        </p:spPr>
      </p:pic>
      <p:sp>
        <p:nvSpPr>
          <p:cNvPr id="31" name="Text Placeholder 19">
            <a:extLst>
              <a:ext uri="{FF2B5EF4-FFF2-40B4-BE49-F238E27FC236}">
                <a16:creationId xmlns:a16="http://schemas.microsoft.com/office/drawing/2014/main" id="{B4155D54-62A9-974D-E19A-1639021A7CB1}"/>
              </a:ext>
            </a:extLst>
          </p:cNvPr>
          <p:cNvSpPr txBox="1">
            <a:spLocks/>
          </p:cNvSpPr>
          <p:nvPr/>
        </p:nvSpPr>
        <p:spPr bwMode="gray">
          <a:xfrm>
            <a:off x="519418" y="4909749"/>
            <a:ext cx="2700000" cy="680486"/>
          </a:xfrm>
          <a:prstGeom prst="homePlate">
            <a:avLst>
              <a:gd name="adj" fmla="val 27582"/>
            </a:avLst>
          </a:prstGeom>
          <a:solidFill>
            <a:schemeClr val="tx2">
              <a:lumMod val="60000"/>
              <a:lumOff val="40000"/>
            </a:schemeClr>
          </a:solidFill>
        </p:spPr>
        <p:txBody>
          <a:bodyPr vert="horz" lIns="180000" tIns="36000" rIns="72000" bIns="36000" rtlCol="0" anchor="ctr" anchorCtr="0">
            <a:noAutofit/>
          </a:bodyPr>
          <a:lstStyle>
            <a:lvl1pPr marL="0" indent="0" algn="l" defTabSz="914400" rtl="0" eaLnBrk="1" latinLnBrk="0" hangingPunct="1">
              <a:lnSpc>
                <a:spcPct val="100000"/>
              </a:lnSpc>
              <a:spcBef>
                <a:spcPts val="0"/>
              </a:spcBef>
              <a:spcAft>
                <a:spcPts val="600"/>
              </a:spcAft>
              <a:buFontTx/>
              <a:buNone/>
              <a:defRPr lang="de-DE" sz="1600" kern="1200" spc="40" baseline="0" noProof="0" dirty="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cap="none" spc="40" baseline="0" noProof="0" dirty="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2"/>
              </a:buClr>
              <a:buSzPct val="85000"/>
              <a:buFont typeface="Wingdings" panose="05000000000000000000" pitchFamily="2" charset="2"/>
              <a:buChar char="§"/>
              <a:defRPr lang="de-DE" sz="1600" kern="1200" spc="40" baseline="0" noProof="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40" baseline="0" noProof="0" dirty="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lang="de-DE" sz="1600" kern="1200" spc="40" baseline="0" noProof="0" dirty="0">
                <a:solidFill>
                  <a:schemeClr val="tx1"/>
                </a:solidFill>
                <a:latin typeface="+mj-lt"/>
                <a:ea typeface="+mn-ea"/>
                <a:cs typeface="+mn-cs"/>
              </a:defRPr>
            </a:lvl7pPr>
            <a:lvl8pPr marL="360000" indent="-360000" algn="l" defTabSz="914400" rtl="0" eaLnBrk="1" latinLnBrk="0" hangingPunct="1">
              <a:lnSpc>
                <a:spcPct val="100000"/>
              </a:lnSpc>
              <a:spcBef>
                <a:spcPts val="0"/>
              </a:spcBef>
              <a:spcAft>
                <a:spcPts val="600"/>
              </a:spcAft>
              <a:buFontTx/>
              <a:buBlip>
                <a:blip r:embed="rId3">
                  <a:extLst>
                    <a:ext uri="{96DAC541-7B7A-43D3-8B79-37D633B846F1}">
                      <asvg:svgBlip xmlns:asvg="http://schemas.microsoft.com/office/drawing/2016/SVG/main" r:embed="rId4"/>
                    </a:ext>
                  </a:extLst>
                </a:blip>
              </a:buBlip>
              <a:defRPr lang="de-DE" sz="2000" kern="1200" cap="none" spc="40" baseline="0" noProof="0" dirty="0">
                <a:solidFill>
                  <a:schemeClr val="tx2"/>
                </a:solidFill>
                <a:latin typeface="+mj-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lang="de-DE" sz="2000" kern="1200" cap="none" spc="100" baseline="0" noProof="0" dirty="0">
                <a:solidFill>
                  <a:schemeClr val="tx2"/>
                </a:solidFill>
                <a:latin typeface="+mj-lt"/>
                <a:ea typeface="+mn-ea"/>
                <a:cs typeface="+mn-cs"/>
              </a:defRPr>
            </a:lvl9pPr>
          </a:lstStyle>
          <a:p>
            <a:r>
              <a:rPr lang="en-US" b="1" dirty="0"/>
              <a:t>Scripts</a:t>
            </a:r>
            <a:endParaRPr lang="en-US" dirty="0"/>
          </a:p>
        </p:txBody>
      </p:sp>
    </p:spTree>
    <p:extLst>
      <p:ext uri="{BB962C8B-B14F-4D97-AF65-F5344CB8AC3E}">
        <p14:creationId xmlns:p14="http://schemas.microsoft.com/office/powerpoint/2010/main" val="770430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ccso 2023">
  <a:themeElements>
    <a:clrScheme name="Accso">
      <a:dk1>
        <a:srgbClr val="000000"/>
      </a:dk1>
      <a:lt1>
        <a:srgbClr val="FFFFFF"/>
      </a:lt1>
      <a:dk2>
        <a:srgbClr val="00CA75"/>
      </a:dk2>
      <a:lt2>
        <a:srgbClr val="E7E6E6"/>
      </a:lt2>
      <a:accent1>
        <a:srgbClr val="00CA75"/>
      </a:accent1>
      <a:accent2>
        <a:srgbClr val="6C72B5"/>
      </a:accent2>
      <a:accent3>
        <a:srgbClr val="5BD4FF"/>
      </a:accent3>
      <a:accent4>
        <a:srgbClr val="2D95BF"/>
      </a:accent4>
      <a:accent5>
        <a:srgbClr val="FF8327"/>
      </a:accent5>
      <a:accent6>
        <a:srgbClr val="DB4123"/>
      </a:accent6>
      <a:hlink>
        <a:srgbClr val="000000"/>
      </a:hlink>
      <a:folHlink>
        <a:srgbClr val="44546A"/>
      </a:folHlink>
    </a:clrScheme>
    <a:fontScheme name="Accso">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lIns="0" tIns="0" rIns="0" bIns="0" rtlCol="0" anchor="t" anchorCtr="0"/>
      <a:lstStyle>
        <a:defPPr algn="l">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76200" cap="flat">
          <a:solidFill>
            <a:schemeClr val="accent1"/>
          </a:solidFill>
          <a:beve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marR="0" indent="0" algn="l" defTabSz="914400" rtl="0" eaLnBrk="1" fontAlgn="auto" latinLnBrk="0" hangingPunct="1">
          <a:lnSpc>
            <a:spcPct val="100000"/>
          </a:lnSpc>
          <a:spcBef>
            <a:spcPts val="300"/>
          </a:spcBef>
          <a:spcAft>
            <a:spcPts val="300"/>
          </a:spcAft>
          <a:buClrTx/>
          <a:buSzTx/>
          <a:buFontTx/>
          <a:buNone/>
          <a:tabLst/>
          <a:defRPr kumimoji="0" sz="1600" b="0" i="0" u="none" strike="noStrike" kern="1200" cap="none" spc="40" normalizeH="0" baseline="0" noProof="0" dirty="0" err="1" smtClean="0">
            <a:ln>
              <a:noFill/>
            </a:ln>
            <a:solidFill>
              <a:srgbClr val="000000"/>
            </a:solidFill>
            <a:effectLst/>
            <a:uLnTx/>
            <a:uFillTx/>
            <a:latin typeface="Calibri"/>
            <a:ea typeface="+mn-ea"/>
            <a:cs typeface="+mn-cs"/>
          </a:defRPr>
        </a:defPPr>
      </a:lstStyle>
    </a:txDef>
  </a:objectDefaults>
  <a:extraClrSchemeLst/>
  <a:extLst>
    <a:ext uri="{05A4C25C-085E-4340-85A3-A5531E510DB2}">
      <thm15:themeFamily xmlns:thm15="http://schemas.microsoft.com/office/thememl/2012/main" name="Präsentation1" id="{EABF2C1A-53B5-41C3-9EF4-20BFDCC9A740}" vid="{1EA43767-2296-40CF-935E-31FBF7679583}"/>
    </a:ext>
  </a:extLst>
</a:theme>
</file>

<file path=ppt/theme/theme2.xml><?xml version="1.0" encoding="utf-8"?>
<a:theme xmlns:a="http://schemas.openxmlformats.org/drawingml/2006/main" name="Office">
  <a:themeElements>
    <a:clrScheme name="Accso">
      <a:dk1>
        <a:srgbClr val="000000"/>
      </a:dk1>
      <a:lt1>
        <a:srgbClr val="FFFFFF"/>
      </a:lt1>
      <a:dk2>
        <a:srgbClr val="00CA75"/>
      </a:dk2>
      <a:lt2>
        <a:srgbClr val="E7E6E6"/>
      </a:lt2>
      <a:accent1>
        <a:srgbClr val="00CA75"/>
      </a:accent1>
      <a:accent2>
        <a:srgbClr val="6C72B5"/>
      </a:accent2>
      <a:accent3>
        <a:srgbClr val="5BD4FF"/>
      </a:accent3>
      <a:accent4>
        <a:srgbClr val="2D95BF"/>
      </a:accent4>
      <a:accent5>
        <a:srgbClr val="FF8327"/>
      </a:accent5>
      <a:accent6>
        <a:srgbClr val="DB4123"/>
      </a:accent6>
      <a:hlink>
        <a:srgbClr val="000000"/>
      </a:hlink>
      <a:folHlink>
        <a:srgbClr val="44546A"/>
      </a:folHlink>
    </a:clrScheme>
    <a:fontScheme name="Accso">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Accso">
      <a:dk1>
        <a:srgbClr val="000000"/>
      </a:dk1>
      <a:lt1>
        <a:srgbClr val="FFFFFF"/>
      </a:lt1>
      <a:dk2>
        <a:srgbClr val="00CA75"/>
      </a:dk2>
      <a:lt2>
        <a:srgbClr val="E7E6E6"/>
      </a:lt2>
      <a:accent1>
        <a:srgbClr val="00CA75"/>
      </a:accent1>
      <a:accent2>
        <a:srgbClr val="6C72B5"/>
      </a:accent2>
      <a:accent3>
        <a:srgbClr val="5BD4FF"/>
      </a:accent3>
      <a:accent4>
        <a:srgbClr val="2D95BF"/>
      </a:accent4>
      <a:accent5>
        <a:srgbClr val="FF8327"/>
      </a:accent5>
      <a:accent6>
        <a:srgbClr val="DB4123"/>
      </a:accent6>
      <a:hlink>
        <a:srgbClr val="000000"/>
      </a:hlink>
      <a:folHlink>
        <a:srgbClr val="44546A"/>
      </a:folHlink>
    </a:clrScheme>
    <a:fontScheme name="Accso">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5e63f79-38d4-4d08-8e3a-3c77cede0032" xsi:nil="true"/>
    <lcf76f155ced4ddcb4097134ff3c332f xmlns="c3e4600b-9765-4c6f-b1e1-cf01664a61c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D186029C7B62143B9199C5F17E3542A" ma:contentTypeVersion="20" ma:contentTypeDescription="Ein neues Dokument erstellen." ma:contentTypeScope="" ma:versionID="49b8c778c0245123a1aae9f257a12e94">
  <xsd:schema xmlns:xsd="http://www.w3.org/2001/XMLSchema" xmlns:xs="http://www.w3.org/2001/XMLSchema" xmlns:p="http://schemas.microsoft.com/office/2006/metadata/properties" xmlns:ns2="65e63f79-38d4-4d08-8e3a-3c77cede0032" xmlns:ns3="c3e4600b-9765-4c6f-b1e1-cf01664a61c9" targetNamespace="http://schemas.microsoft.com/office/2006/metadata/properties" ma:root="true" ma:fieldsID="ab00d4621a9ed03ec6640172a108caa7" ns2:_="" ns3:_="">
    <xsd:import namespace="65e63f79-38d4-4d08-8e3a-3c77cede0032"/>
    <xsd:import namespace="c3e4600b-9765-4c6f-b1e1-cf01664a61c9"/>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e63f79-38d4-4d08-8e3a-3c77cede0032" elementFormDefault="qualified">
    <xsd:import namespace="http://schemas.microsoft.com/office/2006/documentManagement/types"/>
    <xsd:import namespace="http://schemas.microsoft.com/office/infopath/2007/PartnerControls"/>
    <xsd:element name="SharedWithUsers" ma:index="8"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description="" ma:internalName="SharedWithDetails" ma:readOnly="true">
      <xsd:simpleType>
        <xsd:restriction base="dms:Note">
          <xsd:maxLength value="255"/>
        </xsd:restriction>
      </xsd:simpleType>
    </xsd:element>
    <xsd:element name="LastSharedByUser" ma:index="10" nillable="true" ma:displayName="Zuletzt freigegeben nach Benutzer" ma:description="" ma:internalName="LastSharedByUser" ma:readOnly="true">
      <xsd:simpleType>
        <xsd:restriction base="dms:Note">
          <xsd:maxLength value="255"/>
        </xsd:restriction>
      </xsd:simpleType>
    </xsd:element>
    <xsd:element name="LastSharedByTime" ma:index="11" nillable="true" ma:displayName="Zuletzt freigegeben nach Zeitpunkt" ma:description="" ma:internalName="LastSharedByTime" ma:readOnly="true">
      <xsd:simpleType>
        <xsd:restriction base="dms:DateTime"/>
      </xsd:simpleType>
    </xsd:element>
    <xsd:element name="TaxCatchAll" ma:index="25" nillable="true" ma:displayName="Taxonomy Catch All Column" ma:hidden="true" ma:list="{029aaa56-240a-4db1-82b1-53b19e36d937}" ma:internalName="TaxCatchAll" ma:showField="CatchAllData" ma:web="65e63f79-38d4-4d08-8e3a-3c77cede00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3e4600b-9765-4c6f-b1e1-cf01664a61c9"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Bildmarkierungen" ma:readOnly="false" ma:fieldId="{5cf76f15-5ced-4ddc-b409-7134ff3c332f}" ma:taxonomyMulti="true" ma:sspId="5e33ed9d-9f8f-4b81-bc4d-d1918748013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F549CB-DB72-4F77-94AE-2B6E4A1A5F04}">
  <ds:schemaRefs>
    <ds:schemaRef ds:uri="http://schemas.microsoft.com/office/2006/metadata/properties"/>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c3e4600b-9765-4c6f-b1e1-cf01664a61c9"/>
    <ds:schemaRef ds:uri="65e63f79-38d4-4d08-8e3a-3c77cede0032"/>
    <ds:schemaRef ds:uri="http://purl.org/dc/elements/1.1/"/>
  </ds:schemaRefs>
</ds:datastoreItem>
</file>

<file path=customXml/itemProps2.xml><?xml version="1.0" encoding="utf-8"?>
<ds:datastoreItem xmlns:ds="http://schemas.openxmlformats.org/officeDocument/2006/customXml" ds:itemID="{25F0F8A6-0C93-4AF8-B99F-FAF0FB82ED59}">
  <ds:schemaRefs>
    <ds:schemaRef ds:uri="http://schemas.microsoft.com/sharepoint/v3/contenttype/forms"/>
  </ds:schemaRefs>
</ds:datastoreItem>
</file>

<file path=customXml/itemProps3.xml><?xml version="1.0" encoding="utf-8"?>
<ds:datastoreItem xmlns:ds="http://schemas.openxmlformats.org/officeDocument/2006/customXml" ds:itemID="{20218938-86C6-44CB-931B-983BC4E71B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e63f79-38d4-4d08-8e3a-3c77cede0032"/>
    <ds:schemaRef ds:uri="c3e4600b-9765-4c6f-b1e1-cf01664a61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ccso_Vorlage_aktuell (1)</Template>
  <TotalTime>4964</TotalTime>
  <Words>1074</Words>
  <Application>Microsoft Office PowerPoint</Application>
  <PresentationFormat>Widescreen</PresentationFormat>
  <Paragraphs>142</Paragraphs>
  <Slides>14</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bold</vt:lpstr>
      <vt:lpstr>Comic Sans MS</vt:lpstr>
      <vt:lpstr>Google Sans</vt:lpstr>
      <vt:lpstr>Inter</vt:lpstr>
      <vt:lpstr>Wingdings</vt:lpstr>
      <vt:lpstr>Master Accso 2023</vt:lpstr>
      <vt:lpstr>think-cell Folie</vt:lpstr>
      <vt:lpstr>PowerPoint Presentation</vt:lpstr>
      <vt:lpstr>About </vt:lpstr>
      <vt:lpstr>PowerPoint Presentation</vt:lpstr>
      <vt:lpstr>PowerPoint Presentation</vt:lpstr>
      <vt:lpstr>PowerPoint Presentation</vt:lpstr>
      <vt:lpstr>Part 1: Why Unity?  </vt:lpstr>
      <vt:lpstr>Part 2: Unity Basics and Core Concepts </vt:lpstr>
      <vt:lpstr>Part 2: Unity Basics and Core Concepts </vt:lpstr>
      <vt:lpstr>Part 2: Unity Basics and Core Concepts </vt:lpstr>
      <vt:lpstr>Part 2: Unity Basics and Core Concepts </vt:lpstr>
      <vt:lpstr>Part 2: Unity Basics and Core Concepts </vt:lpstr>
      <vt:lpstr>Part 3: Resources, Repositories, and Pric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hompson, Neil</dc:creator>
  <cp:lastModifiedBy>Thompson, Neil</cp:lastModifiedBy>
  <cp:revision>3</cp:revision>
  <dcterms:created xsi:type="dcterms:W3CDTF">2024-10-27T20:12:05Z</dcterms:created>
  <dcterms:modified xsi:type="dcterms:W3CDTF">2024-11-30T13:3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rstellt von">
    <vt:lpwstr>hb@heikeberger.de</vt:lpwstr>
  </property>
  <property fmtid="{D5CDD505-2E9C-101B-9397-08002B2CF9AE}" pid="3" name="ContentTypeId">
    <vt:lpwstr>0x010100CD186029C7B62143B9199C5F17E3542A</vt:lpwstr>
  </property>
  <property fmtid="{D5CDD505-2E9C-101B-9397-08002B2CF9AE}" pid="4" name="MediaServiceImageTags">
    <vt:lpwstr/>
  </property>
</Properties>
</file>